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5"/>
  </p:notesMasterIdLst>
  <p:handoutMasterIdLst>
    <p:handoutMasterId r:id="rId46"/>
  </p:handoutMasterIdLst>
  <p:sldIdLst>
    <p:sldId id="2146848678" r:id="rId5"/>
    <p:sldId id="2146848683" r:id="rId6"/>
    <p:sldId id="2146848685" r:id="rId7"/>
    <p:sldId id="2146848687" r:id="rId8"/>
    <p:sldId id="2146848688" r:id="rId9"/>
    <p:sldId id="2146848689" r:id="rId10"/>
    <p:sldId id="2146848690" r:id="rId11"/>
    <p:sldId id="2146848691" r:id="rId12"/>
    <p:sldId id="2146848692" r:id="rId13"/>
    <p:sldId id="2146848693" r:id="rId14"/>
    <p:sldId id="2146848694" r:id="rId15"/>
    <p:sldId id="2146848695" r:id="rId16"/>
    <p:sldId id="2146848696" r:id="rId17"/>
    <p:sldId id="2146848697" r:id="rId18"/>
    <p:sldId id="2146848698" r:id="rId19"/>
    <p:sldId id="2146848699" r:id="rId20"/>
    <p:sldId id="2146848700" r:id="rId21"/>
    <p:sldId id="2146848701" r:id="rId22"/>
    <p:sldId id="2146848702" r:id="rId23"/>
    <p:sldId id="2146848703" r:id="rId24"/>
    <p:sldId id="2146848704" r:id="rId25"/>
    <p:sldId id="2146848705" r:id="rId26"/>
    <p:sldId id="2146848706" r:id="rId27"/>
    <p:sldId id="2146848707" r:id="rId28"/>
    <p:sldId id="2146848708" r:id="rId29"/>
    <p:sldId id="2146848709" r:id="rId30"/>
    <p:sldId id="2146848710" r:id="rId31"/>
    <p:sldId id="2146848711" r:id="rId32"/>
    <p:sldId id="2146848712" r:id="rId33"/>
    <p:sldId id="2146848713" r:id="rId34"/>
    <p:sldId id="2146848714" r:id="rId35"/>
    <p:sldId id="2146848715" r:id="rId36"/>
    <p:sldId id="2146848716" r:id="rId37"/>
    <p:sldId id="2146848717" r:id="rId38"/>
    <p:sldId id="2146848718" r:id="rId39"/>
    <p:sldId id="2146848719" r:id="rId40"/>
    <p:sldId id="2146848720" r:id="rId41"/>
    <p:sldId id="2146848721" r:id="rId42"/>
    <p:sldId id="2146848722" r:id="rId43"/>
    <p:sldId id="2146848723" r:id="rId44"/>
  </p:sldIdLst>
  <p:sldSz cx="12192000" cy="6858000"/>
  <p:notesSz cx="6858000" cy="91440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1345"/>
    <a:srgbClr val="CCCCCC"/>
    <a:srgbClr val="008A1D"/>
    <a:srgbClr val="B7609D"/>
    <a:srgbClr val="E9EFF7"/>
    <a:srgbClr val="FFFFFF"/>
    <a:srgbClr val="0D0D0D"/>
    <a:srgbClr val="80C0E3"/>
    <a:srgbClr val="80B3FF"/>
    <a:srgbClr val="0081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3E3B35-FD0C-40AC-960E-B8FC8AAC0F85}" v="16" dt="2024-04-03T12:16:08.3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57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63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van Kováč" userId="9bd62d6d-d6ac-4a28-9691-c01a9f5b83b0" providerId="ADAL" clId="{C43E3B35-FD0C-40AC-960E-B8FC8AAC0F85}"/>
    <pc:docChg chg="undo custSel delSld modSld">
      <pc:chgData name="Ivan Kováč" userId="9bd62d6d-d6ac-4a28-9691-c01a9f5b83b0" providerId="ADAL" clId="{C43E3B35-FD0C-40AC-960E-B8FC8AAC0F85}" dt="2024-04-03T12:17:48.592" v="334" actId="2696"/>
      <pc:docMkLst>
        <pc:docMk/>
      </pc:docMkLst>
      <pc:sldChg chg="modSp mod">
        <pc:chgData name="Ivan Kováč" userId="9bd62d6d-d6ac-4a28-9691-c01a9f5b83b0" providerId="ADAL" clId="{C43E3B35-FD0C-40AC-960E-B8FC8AAC0F85}" dt="2024-04-03T12:05:33.347" v="138" actId="20577"/>
        <pc:sldMkLst>
          <pc:docMk/>
          <pc:sldMk cId="2812679732" sldId="2146848678"/>
        </pc:sldMkLst>
        <pc:spChg chg="mod">
          <ac:chgData name="Ivan Kováč" userId="9bd62d6d-d6ac-4a28-9691-c01a9f5b83b0" providerId="ADAL" clId="{C43E3B35-FD0C-40AC-960E-B8FC8AAC0F85}" dt="2024-04-03T12:05:33.347" v="138" actId="20577"/>
          <ac:spMkLst>
            <pc:docMk/>
            <pc:sldMk cId="2812679732" sldId="2146848678"/>
            <ac:spMk id="2" creationId="{782AD7D2-285E-44E6-97DC-B3399930097A}"/>
          </ac:spMkLst>
        </pc:spChg>
        <pc:spChg chg="mod">
          <ac:chgData name="Ivan Kováč" userId="9bd62d6d-d6ac-4a28-9691-c01a9f5b83b0" providerId="ADAL" clId="{C43E3B35-FD0C-40AC-960E-B8FC8AAC0F85}" dt="2024-04-03T12:03:35.806" v="65" actId="20577"/>
          <ac:spMkLst>
            <pc:docMk/>
            <pc:sldMk cId="2812679732" sldId="2146848678"/>
            <ac:spMk id="3" creationId="{9F2926AE-9DED-4571-A200-9B0A338B9E80}"/>
          </ac:spMkLst>
        </pc:spChg>
      </pc:sldChg>
      <pc:sldChg chg="addSp delSp modSp del mod">
        <pc:chgData name="Ivan Kováč" userId="9bd62d6d-d6ac-4a28-9691-c01a9f5b83b0" providerId="ADAL" clId="{C43E3B35-FD0C-40AC-960E-B8FC8AAC0F85}" dt="2024-04-03T12:12:40.228" v="219" actId="2696"/>
        <pc:sldMkLst>
          <pc:docMk/>
          <pc:sldMk cId="3748517301" sldId="2146848684"/>
        </pc:sldMkLst>
        <pc:spChg chg="mod">
          <ac:chgData name="Ivan Kováč" userId="9bd62d6d-d6ac-4a28-9691-c01a9f5b83b0" providerId="ADAL" clId="{C43E3B35-FD0C-40AC-960E-B8FC8AAC0F85}" dt="2024-04-03T12:06:02.818" v="189" actId="20577"/>
          <ac:spMkLst>
            <pc:docMk/>
            <pc:sldMk cId="3748517301" sldId="2146848684"/>
            <ac:spMk id="4" creationId="{3981361E-9025-4C1A-DD63-B6B3C83ED65A}"/>
          </ac:spMkLst>
        </pc:spChg>
        <pc:spChg chg="del">
          <ac:chgData name="Ivan Kováč" userId="9bd62d6d-d6ac-4a28-9691-c01a9f5b83b0" providerId="ADAL" clId="{C43E3B35-FD0C-40AC-960E-B8FC8AAC0F85}" dt="2024-04-03T12:06:51.736" v="190" actId="478"/>
          <ac:spMkLst>
            <pc:docMk/>
            <pc:sldMk cId="3748517301" sldId="2146848684"/>
            <ac:spMk id="6" creationId="{5ABE3E88-2744-DEB3-9922-5B1ECE773564}"/>
          </ac:spMkLst>
        </pc:spChg>
        <pc:spChg chg="mod">
          <ac:chgData name="Ivan Kováč" userId="9bd62d6d-d6ac-4a28-9691-c01a9f5b83b0" providerId="ADAL" clId="{C43E3B35-FD0C-40AC-960E-B8FC8AAC0F85}" dt="2024-04-03T12:10:14.133" v="192"/>
          <ac:spMkLst>
            <pc:docMk/>
            <pc:sldMk cId="3748517301" sldId="2146848684"/>
            <ac:spMk id="7" creationId="{7824D4BB-B860-4BB8-31AD-0B05731D6DE7}"/>
          </ac:spMkLst>
        </pc:spChg>
        <pc:spChg chg="del">
          <ac:chgData name="Ivan Kováč" userId="9bd62d6d-d6ac-4a28-9691-c01a9f5b83b0" providerId="ADAL" clId="{C43E3B35-FD0C-40AC-960E-B8FC8AAC0F85}" dt="2024-04-03T12:07:20.092" v="191" actId="478"/>
          <ac:spMkLst>
            <pc:docMk/>
            <pc:sldMk cId="3748517301" sldId="2146848684"/>
            <ac:spMk id="9" creationId="{399B93A0-C0EB-BFB8-262B-51B829E0FC0A}"/>
          </ac:spMkLst>
        </pc:spChg>
        <pc:spChg chg="mod">
          <ac:chgData name="Ivan Kováč" userId="9bd62d6d-d6ac-4a28-9691-c01a9f5b83b0" providerId="ADAL" clId="{C43E3B35-FD0C-40AC-960E-B8FC8AAC0F85}" dt="2024-04-03T12:11:29.216" v="213"/>
          <ac:spMkLst>
            <pc:docMk/>
            <pc:sldMk cId="3748517301" sldId="2146848684"/>
            <ac:spMk id="10" creationId="{D9DD51CB-AD50-2572-3E11-C8B9696046A8}"/>
          </ac:spMkLst>
        </pc:spChg>
        <pc:spChg chg="add del">
          <ac:chgData name="Ivan Kováč" userId="9bd62d6d-d6ac-4a28-9691-c01a9f5b83b0" providerId="ADAL" clId="{C43E3B35-FD0C-40AC-960E-B8FC8AAC0F85}" dt="2024-04-03T12:11:29.583" v="214" actId="478"/>
          <ac:spMkLst>
            <pc:docMk/>
            <pc:sldMk cId="3748517301" sldId="2146848684"/>
            <ac:spMk id="12" creationId="{18424ACD-7F53-D388-DA2C-D65DC41050B6}"/>
          </ac:spMkLst>
        </pc:spChg>
        <pc:spChg chg="mod">
          <ac:chgData name="Ivan Kováč" userId="9bd62d6d-d6ac-4a28-9691-c01a9f5b83b0" providerId="ADAL" clId="{C43E3B35-FD0C-40AC-960E-B8FC8AAC0F85}" dt="2024-04-03T12:11:28.881" v="212"/>
          <ac:spMkLst>
            <pc:docMk/>
            <pc:sldMk cId="3748517301" sldId="2146848684"/>
            <ac:spMk id="13" creationId="{50487825-31FC-A6DE-9E70-34351258EDA2}"/>
          </ac:spMkLst>
        </pc:spChg>
        <pc:spChg chg="add del">
          <ac:chgData name="Ivan Kováč" userId="9bd62d6d-d6ac-4a28-9691-c01a9f5b83b0" providerId="ADAL" clId="{C43E3B35-FD0C-40AC-960E-B8FC8AAC0F85}" dt="2024-04-03T12:11:28.680" v="211" actId="478"/>
          <ac:spMkLst>
            <pc:docMk/>
            <pc:sldMk cId="3748517301" sldId="2146848684"/>
            <ac:spMk id="15" creationId="{1EE72324-7C4F-8E4A-76D3-5606FA2A24C4}"/>
          </ac:spMkLst>
        </pc:spChg>
        <pc:spChg chg="add del">
          <ac:chgData name="Ivan Kováč" userId="9bd62d6d-d6ac-4a28-9691-c01a9f5b83b0" providerId="ADAL" clId="{C43E3B35-FD0C-40AC-960E-B8FC8AAC0F85}" dt="2024-04-03T12:11:28.111" v="208" actId="478"/>
          <ac:spMkLst>
            <pc:docMk/>
            <pc:sldMk cId="3748517301" sldId="2146848684"/>
            <ac:spMk id="16" creationId="{4F474E3A-CB40-9BF0-3B93-55A8D79D9E34}"/>
          </ac:spMkLst>
        </pc:spChg>
        <pc:spChg chg="add del">
          <ac:chgData name="Ivan Kováč" userId="9bd62d6d-d6ac-4a28-9691-c01a9f5b83b0" providerId="ADAL" clId="{C43E3B35-FD0C-40AC-960E-B8FC8AAC0F85}" dt="2024-04-03T12:11:28.262" v="209" actId="478"/>
          <ac:spMkLst>
            <pc:docMk/>
            <pc:sldMk cId="3748517301" sldId="2146848684"/>
            <ac:spMk id="17" creationId="{25FFBFF0-2D44-E551-C119-199B5613EAC4}"/>
          </ac:spMkLst>
        </pc:spChg>
        <pc:spChg chg="add del mod">
          <ac:chgData name="Ivan Kováč" userId="9bd62d6d-d6ac-4a28-9691-c01a9f5b83b0" providerId="ADAL" clId="{C43E3B35-FD0C-40AC-960E-B8FC8AAC0F85}" dt="2024-04-03T12:11:27.928" v="207" actId="1076"/>
          <ac:spMkLst>
            <pc:docMk/>
            <pc:sldMk cId="3748517301" sldId="2146848684"/>
            <ac:spMk id="18" creationId="{8539DF9B-9C87-E89A-4EC1-EB30861A7558}"/>
          </ac:spMkLst>
        </pc:spChg>
        <pc:spChg chg="add del">
          <ac:chgData name="Ivan Kováč" userId="9bd62d6d-d6ac-4a28-9691-c01a9f5b83b0" providerId="ADAL" clId="{C43E3B35-FD0C-40AC-960E-B8FC8AAC0F85}" dt="2024-04-03T12:11:27.475" v="205" actId="478"/>
          <ac:spMkLst>
            <pc:docMk/>
            <pc:sldMk cId="3748517301" sldId="2146848684"/>
            <ac:spMk id="19" creationId="{2C9BB8D8-5AFD-FE92-4D4D-C0F0692F2E61}"/>
          </ac:spMkLst>
        </pc:spChg>
        <pc:spChg chg="add del">
          <ac:chgData name="Ivan Kováč" userId="9bd62d6d-d6ac-4a28-9691-c01a9f5b83b0" providerId="ADAL" clId="{C43E3B35-FD0C-40AC-960E-B8FC8AAC0F85}" dt="2024-04-03T12:11:28.478" v="210" actId="478"/>
          <ac:spMkLst>
            <pc:docMk/>
            <pc:sldMk cId="3748517301" sldId="2146848684"/>
            <ac:spMk id="20" creationId="{F2685B41-8990-3A1D-864E-5AAB4660DD0B}"/>
          </ac:spMkLst>
        </pc:spChg>
        <pc:spChg chg="add del">
          <ac:chgData name="Ivan Kováč" userId="9bd62d6d-d6ac-4a28-9691-c01a9f5b83b0" providerId="ADAL" clId="{C43E3B35-FD0C-40AC-960E-B8FC8AAC0F85}" dt="2024-04-03T12:11:27.256" v="204" actId="478"/>
          <ac:spMkLst>
            <pc:docMk/>
            <pc:sldMk cId="3748517301" sldId="2146848684"/>
            <ac:spMk id="21" creationId="{297DC967-DA17-87E2-6D65-278ABA1220DF}"/>
          </ac:spMkLst>
        </pc:spChg>
      </pc:sldChg>
      <pc:sldChg chg="addSp delSp modSp mod">
        <pc:chgData name="Ivan Kováč" userId="9bd62d6d-d6ac-4a28-9691-c01a9f5b83b0" providerId="ADAL" clId="{C43E3B35-FD0C-40AC-960E-B8FC8AAC0F85}" dt="2024-04-03T12:16:08.329" v="324" actId="20577"/>
        <pc:sldMkLst>
          <pc:docMk/>
          <pc:sldMk cId="1900960182" sldId="2146848685"/>
        </pc:sldMkLst>
        <pc:spChg chg="mod">
          <ac:chgData name="Ivan Kováč" userId="9bd62d6d-d6ac-4a28-9691-c01a9f5b83b0" providerId="ADAL" clId="{C43E3B35-FD0C-40AC-960E-B8FC8AAC0F85}" dt="2024-04-03T12:15:26.968" v="314" actId="20577"/>
          <ac:spMkLst>
            <pc:docMk/>
            <pc:sldMk cId="1900960182" sldId="2146848685"/>
            <ac:spMk id="2" creationId="{1B3690E1-D4FC-D14C-C8EF-AFE9A889009E}"/>
          </ac:spMkLst>
        </pc:spChg>
        <pc:spChg chg="mod">
          <ac:chgData name="Ivan Kováč" userId="9bd62d6d-d6ac-4a28-9691-c01a9f5b83b0" providerId="ADAL" clId="{C43E3B35-FD0C-40AC-960E-B8FC8AAC0F85}" dt="2024-04-03T12:11:50.020" v="215"/>
          <ac:spMkLst>
            <pc:docMk/>
            <pc:sldMk cId="1900960182" sldId="2146848685"/>
            <ac:spMk id="4" creationId="{98C6EABE-A8C4-7EA9-11C1-55CED185A95C}"/>
          </ac:spMkLst>
        </pc:spChg>
        <pc:spChg chg="mod">
          <ac:chgData name="Ivan Kováč" userId="9bd62d6d-d6ac-4a28-9691-c01a9f5b83b0" providerId="ADAL" clId="{C43E3B35-FD0C-40AC-960E-B8FC8AAC0F85}" dt="2024-04-03T12:15:45.134" v="316" actId="20577"/>
          <ac:spMkLst>
            <pc:docMk/>
            <pc:sldMk cId="1900960182" sldId="2146848685"/>
            <ac:spMk id="5" creationId="{5B042838-60A5-6689-0F3C-1D07A851902E}"/>
          </ac:spMkLst>
        </pc:spChg>
        <pc:spChg chg="mod">
          <ac:chgData name="Ivan Kováč" userId="9bd62d6d-d6ac-4a28-9691-c01a9f5b83b0" providerId="ADAL" clId="{C43E3B35-FD0C-40AC-960E-B8FC8AAC0F85}" dt="2024-04-03T12:12:04.044" v="216"/>
          <ac:spMkLst>
            <pc:docMk/>
            <pc:sldMk cId="1900960182" sldId="2146848685"/>
            <ac:spMk id="6" creationId="{0A0DDBC6-2F5A-5A6A-5909-835BD23C6D5A}"/>
          </ac:spMkLst>
        </pc:spChg>
        <pc:spChg chg="mod">
          <ac:chgData name="Ivan Kováč" userId="9bd62d6d-d6ac-4a28-9691-c01a9f5b83b0" providerId="ADAL" clId="{C43E3B35-FD0C-40AC-960E-B8FC8AAC0F85}" dt="2024-04-03T12:16:00.533" v="320" actId="20577"/>
          <ac:spMkLst>
            <pc:docMk/>
            <pc:sldMk cId="1900960182" sldId="2146848685"/>
            <ac:spMk id="7" creationId="{7F23E4A2-DCCC-C35B-46FE-C57DA5317F19}"/>
          </ac:spMkLst>
        </pc:spChg>
        <pc:spChg chg="mod">
          <ac:chgData name="Ivan Kováč" userId="9bd62d6d-d6ac-4a28-9691-c01a9f5b83b0" providerId="ADAL" clId="{C43E3B35-FD0C-40AC-960E-B8FC8AAC0F85}" dt="2024-04-03T12:12:12.638" v="217"/>
          <ac:spMkLst>
            <pc:docMk/>
            <pc:sldMk cId="1900960182" sldId="2146848685"/>
            <ac:spMk id="8" creationId="{4C077F12-3D54-6EA0-5D0A-E71018DE4AA0}"/>
          </ac:spMkLst>
        </pc:spChg>
        <pc:spChg chg="mod">
          <ac:chgData name="Ivan Kováč" userId="9bd62d6d-d6ac-4a28-9691-c01a9f5b83b0" providerId="ADAL" clId="{C43E3B35-FD0C-40AC-960E-B8FC8AAC0F85}" dt="2024-04-03T12:16:04.126" v="322" actId="20577"/>
          <ac:spMkLst>
            <pc:docMk/>
            <pc:sldMk cId="1900960182" sldId="2146848685"/>
            <ac:spMk id="9" creationId="{CFBFC54F-3237-87FE-5F76-34B9DD9AF212}"/>
          </ac:spMkLst>
        </pc:spChg>
        <pc:spChg chg="mod">
          <ac:chgData name="Ivan Kováč" userId="9bd62d6d-d6ac-4a28-9691-c01a9f5b83b0" providerId="ADAL" clId="{C43E3B35-FD0C-40AC-960E-B8FC8AAC0F85}" dt="2024-04-03T12:12:19.659" v="218"/>
          <ac:spMkLst>
            <pc:docMk/>
            <pc:sldMk cId="1900960182" sldId="2146848685"/>
            <ac:spMk id="10" creationId="{F325C70D-7C93-99F3-8FDD-C7B88CD64203}"/>
          </ac:spMkLst>
        </pc:spChg>
        <pc:spChg chg="mod">
          <ac:chgData name="Ivan Kováč" userId="9bd62d6d-d6ac-4a28-9691-c01a9f5b83b0" providerId="ADAL" clId="{C43E3B35-FD0C-40AC-960E-B8FC8AAC0F85}" dt="2024-04-03T12:16:08.329" v="324" actId="20577"/>
          <ac:spMkLst>
            <pc:docMk/>
            <pc:sldMk cId="1900960182" sldId="2146848685"/>
            <ac:spMk id="11" creationId="{027E2E78-84FC-4CBF-6705-281B65EA1429}"/>
          </ac:spMkLst>
        </pc:spChg>
        <pc:spChg chg="del">
          <ac:chgData name="Ivan Kováč" userId="9bd62d6d-d6ac-4a28-9691-c01a9f5b83b0" providerId="ADAL" clId="{C43E3B35-FD0C-40AC-960E-B8FC8AAC0F85}" dt="2024-04-03T12:12:58.944" v="225" actId="478"/>
          <ac:spMkLst>
            <pc:docMk/>
            <pc:sldMk cId="1900960182" sldId="2146848685"/>
            <ac:spMk id="12" creationId="{1FE142A8-4718-758C-CFCE-765F3A3EB2BA}"/>
          </ac:spMkLst>
        </pc:spChg>
        <pc:spChg chg="add del">
          <ac:chgData name="Ivan Kováč" userId="9bd62d6d-d6ac-4a28-9691-c01a9f5b83b0" providerId="ADAL" clId="{C43E3B35-FD0C-40AC-960E-B8FC8AAC0F85}" dt="2024-04-03T12:12:56.634" v="224" actId="478"/>
          <ac:spMkLst>
            <pc:docMk/>
            <pc:sldMk cId="1900960182" sldId="2146848685"/>
            <ac:spMk id="13" creationId="{15D20EE3-9D86-BE28-8C1E-1449C45227DC}"/>
          </ac:spMkLst>
        </pc:spChg>
        <pc:spChg chg="del">
          <ac:chgData name="Ivan Kováč" userId="9bd62d6d-d6ac-4a28-9691-c01a9f5b83b0" providerId="ADAL" clId="{C43E3B35-FD0C-40AC-960E-B8FC8AAC0F85}" dt="2024-04-03T12:12:46.218" v="220" actId="478"/>
          <ac:spMkLst>
            <pc:docMk/>
            <pc:sldMk cId="1900960182" sldId="2146848685"/>
            <ac:spMk id="14" creationId="{0498B571-1876-4266-E21D-8C89614CF4A4}"/>
          </ac:spMkLst>
        </pc:spChg>
        <pc:spChg chg="del">
          <ac:chgData name="Ivan Kováč" userId="9bd62d6d-d6ac-4a28-9691-c01a9f5b83b0" providerId="ADAL" clId="{C43E3B35-FD0C-40AC-960E-B8FC8AAC0F85}" dt="2024-04-03T12:12:47.951" v="221" actId="478"/>
          <ac:spMkLst>
            <pc:docMk/>
            <pc:sldMk cId="1900960182" sldId="2146848685"/>
            <ac:spMk id="15" creationId="{883F2A87-5F70-9DFD-A443-3BDD0763E843}"/>
          </ac:spMkLst>
        </pc:spChg>
      </pc:sldChg>
      <pc:sldChg chg="modSp del mod">
        <pc:chgData name="Ivan Kováč" userId="9bd62d6d-d6ac-4a28-9691-c01a9f5b83b0" providerId="ADAL" clId="{C43E3B35-FD0C-40AC-960E-B8FC8AAC0F85}" dt="2024-04-03T12:17:48.592" v="334" actId="2696"/>
        <pc:sldMkLst>
          <pc:docMk/>
          <pc:sldMk cId="2148722806" sldId="2146848686"/>
        </pc:sldMkLst>
        <pc:spChg chg="mod">
          <ac:chgData name="Ivan Kováč" userId="9bd62d6d-d6ac-4a28-9691-c01a9f5b83b0" providerId="ADAL" clId="{C43E3B35-FD0C-40AC-960E-B8FC8AAC0F85}" dt="2024-04-03T12:17:10.986" v="329" actId="6549"/>
          <ac:spMkLst>
            <pc:docMk/>
            <pc:sldMk cId="2148722806" sldId="2146848686"/>
            <ac:spMk id="4" creationId="{9C91F1BD-BFA7-6CBA-7D60-E0BEE6ABBD64}"/>
          </ac:spMkLst>
        </pc:spChg>
        <pc:spChg chg="mod">
          <ac:chgData name="Ivan Kováč" userId="9bd62d6d-d6ac-4a28-9691-c01a9f5b83b0" providerId="ADAL" clId="{C43E3B35-FD0C-40AC-960E-B8FC8AAC0F85}" dt="2024-04-03T12:16:34.461" v="327" actId="20577"/>
          <ac:spMkLst>
            <pc:docMk/>
            <pc:sldMk cId="2148722806" sldId="2146848686"/>
            <ac:spMk id="5" creationId="{D39552A8-CC8B-7C1F-F8CF-7126B84C8A12}"/>
          </ac:spMkLst>
        </pc:spChg>
      </pc:sldChg>
      <pc:sldChg chg="modSp mod">
        <pc:chgData name="Ivan Kováč" userId="9bd62d6d-d6ac-4a28-9691-c01a9f5b83b0" providerId="ADAL" clId="{C43E3B35-FD0C-40AC-960E-B8FC8AAC0F85}" dt="2024-04-03T12:17:32.434" v="333" actId="20577"/>
        <pc:sldMkLst>
          <pc:docMk/>
          <pc:sldMk cId="973726265" sldId="2146848687"/>
        </pc:sldMkLst>
        <pc:spChg chg="mod">
          <ac:chgData name="Ivan Kováč" userId="9bd62d6d-d6ac-4a28-9691-c01a9f5b83b0" providerId="ADAL" clId="{C43E3B35-FD0C-40AC-960E-B8FC8AAC0F85}" dt="2024-04-03T12:17:32.434" v="333" actId="20577"/>
          <ac:spMkLst>
            <pc:docMk/>
            <pc:sldMk cId="973726265" sldId="2146848687"/>
            <ac:spMk id="2" creationId="{141A66DE-3B45-6B9A-6784-A7DCF07214DC}"/>
          </ac:spMkLst>
        </pc:spChg>
        <pc:spChg chg="mod">
          <ac:chgData name="Ivan Kováč" userId="9bd62d6d-d6ac-4a28-9691-c01a9f5b83b0" providerId="ADAL" clId="{C43E3B35-FD0C-40AC-960E-B8FC8AAC0F85}" dt="2024-04-03T12:17:22.808" v="331" actId="20577"/>
          <ac:spMkLst>
            <pc:docMk/>
            <pc:sldMk cId="973726265" sldId="2146848687"/>
            <ac:spMk id="3" creationId="{44013F6C-CD40-A32A-D157-7DF11466C16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798420D-4018-4262-95A2-99274DD550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6257238-49E0-400A-A411-31F210EBC8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C2F830-B0DB-46FC-86A3-B5C94899501D}" type="datetimeFigureOut">
              <a:rPr lang="de-AT" smtClean="0"/>
              <a:t>03.04.2024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5CE3B1-EA8A-48F6-A8E4-BE580BEE4B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975F84-9E32-45C3-9D20-7424B9AC9F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E52E6-9B81-46F0-941E-7228A8D5C161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63695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EF3FD-4CB1-7B4C-BC52-3FB82BCF9752}" type="datetimeFigureOut">
              <a:rPr lang="de-AT" smtClean="0"/>
              <a:t>03.04.2024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CE33D0-74F8-C740-82ED-4CC36B384B7A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42927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_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>
            <a:extLst>
              <a:ext uri="{FF2B5EF4-FFF2-40B4-BE49-F238E27FC236}">
                <a16:creationId xmlns:a16="http://schemas.microsoft.com/office/drawing/2014/main" id="{A99D4152-C594-9D40-BE59-B02093F6F6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32EE295-763D-944A-934D-A4C6DA13AE0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6876" y="4569378"/>
            <a:ext cx="5699124" cy="119724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3975E68-ACFF-4548-A786-140FE67A9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2346996"/>
            <a:ext cx="11395074" cy="2164008"/>
          </a:xfrm>
        </p:spPr>
        <p:txBody>
          <a:bodyPr lIns="0" tIns="0" rIns="0" bIns="0" anchor="b" anchorCtr="0">
            <a:noAutofit/>
          </a:bodyPr>
          <a:lstStyle>
            <a:lvl1pPr>
              <a:defRPr sz="7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AT" dirty="0"/>
              <a:t>Titel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C5AE2018-A0FB-B9D5-2B71-68AF37BFE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6876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010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3_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1D7D7FEE-17B3-7547-80D6-B26EC0FE99E9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AAF22644-D198-D83A-5497-352EDAD1F1A6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3843653F-53D3-DFB3-944A-66B4153F55E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8F2E55D3-1241-634D-AB72-5A39B77E2D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8A53FBD-132D-4956-9A30-A0403514BB6C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F78E4E6-EB5D-FA4E-AC08-EFDF20E779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806CBAC9-0539-1640-91FD-B44FF4E92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2F6D03-EF1C-D48D-66BA-7F889940ED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656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4_Headline + Text + 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2DE4ED8-512E-C546-B13F-87676A8B0E84}"/>
              </a:ext>
            </a:extLst>
          </p:cNvPr>
          <p:cNvSpPr/>
          <p:nvPr userDrawn="1"/>
        </p:nvSpPr>
        <p:spPr>
          <a:xfrm>
            <a:off x="0" y="0"/>
            <a:ext cx="45468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0F618B5-F9DA-C44F-8ED5-0201D6A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2179331"/>
            <a:ext cx="3630338" cy="918641"/>
          </a:xfrm>
        </p:spPr>
        <p:txBody>
          <a:bodyPr lIns="0" rIns="0" anchor="b" anchorCtr="0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  <a:br>
              <a:rPr lang="de-AT" dirty="0"/>
            </a:br>
            <a:r>
              <a:rPr lang="de-AT" dirty="0"/>
              <a:t>Headli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50EA3119-2818-8A48-B142-6B0427CB281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93363" y="3429000"/>
            <a:ext cx="3630338" cy="23512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FD11ABAE-A311-92C9-D0BB-4EDA83C82C51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5343525" y="1266825"/>
            <a:ext cx="6448426" cy="4984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4150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AE448E99-EA25-AC8F-0289-B3C09B961840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8F85FD14-D819-598A-2D7C-261F43CEBA6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2D744909-7F7E-5441-B594-6335F4F666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BE3DCA7-7BC2-4FD7-85E4-522478396FC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D584EE45-34B3-7B48-86DD-7896AB6BF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1C023245-2491-3848-B515-32B8968384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65B161C9-39B0-97AF-D11D-0BCEF014F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32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5_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2DE4ED8-512E-C546-B13F-87676A8B0E84}"/>
              </a:ext>
            </a:extLst>
          </p:cNvPr>
          <p:cNvSpPr/>
          <p:nvPr userDrawn="1"/>
        </p:nvSpPr>
        <p:spPr>
          <a:xfrm>
            <a:off x="0" y="0"/>
            <a:ext cx="45468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9203FBCE-F319-30E9-7CD5-C639DEDE1D2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90694FE1-2C9E-3361-F545-2EBE09E5D6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1CF4C435-B482-E94A-B653-1E53192956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D66F52B-0076-4A19-80B0-0DE93FBA546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0F137590-5897-F846-B7F3-5064688EE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0A77435A-6E14-614C-9AA8-46ACC143E5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7383E40-9D97-C502-AE73-1ACA1656D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649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6_Headline + Text + 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25CB363-27FD-2240-BD68-CE87CD804C2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847013D8-063A-E2D5-6FB1-686F6143C7C9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E7786AF2-BDCA-A38D-F3E8-37BC26E0DB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9D2A828D-488A-8C13-607B-1E8977FE484E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757989" y="1345447"/>
            <a:ext cx="5033962" cy="490612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5DA110A6-6EA2-AF4C-8211-C445403FB3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CABF622-56BC-462D-B7E1-6BDC7D5AC0E5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E98AD130-25DE-9C4C-A143-C5F97715BE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0CB4C87D-6A14-DF4B-B213-AEB1E042F8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7BE7145C-9940-8F43-8F11-F0AA31D11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2179331"/>
            <a:ext cx="5233714" cy="918641"/>
          </a:xfrm>
        </p:spPr>
        <p:txBody>
          <a:bodyPr lIns="0" rIns="0" anchor="b" anchorCtr="0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  <a:br>
              <a:rPr lang="de-AT" dirty="0"/>
            </a:br>
            <a:r>
              <a:rPr lang="de-AT" dirty="0"/>
              <a:t>Headli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6C3FD15B-48BB-9041-9F45-0D85279A830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93363" y="3429000"/>
            <a:ext cx="5233714" cy="23512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B63F0DA-01DC-33D3-A801-C58FF15C8C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89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7_links Flächenabgrenz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92B6422-F961-FE44-89F9-96557514200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F4E9EF7-ED7B-31B2-5EAF-C02402D5A435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75CEA320-A04E-3F1B-9941-5DC90093AB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25812868-BB8C-B04E-BF7D-300C3D4028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42FCB9E3-CE4D-4465-943D-5924D1DC9354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4690ED4B-081B-3B4A-AA2D-9E3925E4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40530A1-1BCE-0E46-8C9E-5E32D374E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24C823D-E6AD-94BE-5077-B2618564D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523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64EDE8-F91F-4444-AEE4-2AFB5C194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12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64EDE8-F91F-4444-AEE4-2AFB5C194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BC87854E-C2F0-45A6-AA6A-AD677C69CEC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58" y="1712897"/>
            <a:ext cx="629343" cy="629343"/>
          </a:xfrm>
          <a:prstGeom prst="rect">
            <a:avLst/>
          </a:prstGeom>
        </p:spPr>
      </p:pic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20A4881D-0A50-4B4E-81A2-73368B3AB9CF}"/>
              </a:ext>
            </a:extLst>
          </p:cNvPr>
          <p:cNvSpPr/>
          <p:nvPr userDrawn="1"/>
        </p:nvSpPr>
        <p:spPr>
          <a:xfrm>
            <a:off x="6331944" y="2491483"/>
            <a:ext cx="5375743" cy="426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B1393168-A105-364D-A63B-EDD8F1CFDD49}"/>
              </a:ext>
            </a:extLst>
          </p:cNvPr>
          <p:cNvSpPr/>
          <p:nvPr userDrawn="1"/>
        </p:nvSpPr>
        <p:spPr>
          <a:xfrm>
            <a:off x="409640" y="2491483"/>
            <a:ext cx="5375743" cy="426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37066C4-CBC9-724F-BBC3-51D036610465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25014" y="3051654"/>
            <a:ext cx="4619669" cy="32039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3527E712-A189-B248-A11A-12FFF618606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747319" y="3051654"/>
            <a:ext cx="4619668" cy="32039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C244438-4536-2145-B2E3-7A7DAF20065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25014" y="2609243"/>
            <a:ext cx="4620768" cy="2095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2A71910-67A5-E542-94BA-2E36E70E1AD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47318" y="2609243"/>
            <a:ext cx="4620768" cy="2095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5D0D3D6-F592-9D63-A6B5-0A662F6B0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vert="horz"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A5142679-5DD7-0852-05AA-B6BA3EE2156D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B612063A-B2A4-EF42-1FAD-A9E339557E1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F1B8D1C9-6E6A-CC41-98A8-5E1D2773C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45936BA-6AE5-452D-AF6A-8AC274880BC7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A3769442-76C8-DD44-B7F5-A3653A9F67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25FEA44E-22BC-A04C-A332-50B472149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EC134E2D-BB3D-459C-98B5-7C71DE3F790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2215" y="170210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FF5DC626-42E8-451C-81FF-CD6BA44101A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662" y="1712897"/>
            <a:ext cx="629343" cy="629343"/>
          </a:xfrm>
          <a:prstGeom prst="rect">
            <a:avLst/>
          </a:prstGeom>
        </p:spPr>
      </p:pic>
      <p:sp>
        <p:nvSpPr>
          <p:cNvPr id="42" name="Bildplatzhalter 4">
            <a:extLst>
              <a:ext uri="{FF2B5EF4-FFF2-40B4-BE49-F238E27FC236}">
                <a16:creationId xmlns:a16="http://schemas.microsoft.com/office/drawing/2014/main" id="{2385FE18-6443-4A3D-89F1-16C5D404DC8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747319" y="170210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4418790-C1A1-FB5F-ECD5-E2BB8A1907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319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1078625" y="4199871"/>
            <a:ext cx="3424102" cy="171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5650625" y="4199870"/>
            <a:ext cx="3424102" cy="171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EF39BA8A-DF27-1B4E-BBB5-EA5833B3F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9D205F6-958D-4CEA-A3AB-EE1BD561EAFB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A34D6435-696D-C14E-A572-66881FAF71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7762FD86-F31D-5041-BED9-F3CD45C61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6B2976BE-19CA-4F54-9719-C1DF2EA60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300" y="2646198"/>
            <a:ext cx="1292753" cy="1292753"/>
          </a:xfrm>
          <a:prstGeom prst="rect">
            <a:avLst/>
          </a:prstGeom>
        </p:spPr>
      </p:pic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7001938A-38C8-406D-B1C5-A3B766FC235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11689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7CC573B8-AD4C-49A3-8EEE-877483FF69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300" y="2646198"/>
            <a:ext cx="1292753" cy="1292753"/>
          </a:xfrm>
          <a:prstGeom prst="rect">
            <a:avLst/>
          </a:prstGeom>
        </p:spPr>
      </p:pic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FD76459E-5E36-41A3-9E42-9635949B2D1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68889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553CE96-3A3F-AF29-D32A-005833B998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021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244C6FA8-9725-9442-A37F-928D399C04CD}"/>
              </a:ext>
            </a:extLst>
          </p:cNvPr>
          <p:cNvSpPr/>
          <p:nvPr userDrawn="1"/>
        </p:nvSpPr>
        <p:spPr>
          <a:xfrm>
            <a:off x="6351757" y="1700213"/>
            <a:ext cx="5439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92366561-52E1-2246-A5BA-799A9E829CD6}"/>
              </a:ext>
            </a:extLst>
          </p:cNvPr>
          <p:cNvSpPr/>
          <p:nvPr userDrawn="1"/>
        </p:nvSpPr>
        <p:spPr>
          <a:xfrm>
            <a:off x="401172" y="1700213"/>
            <a:ext cx="5439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A634FDE-27DD-E946-B2EF-6A586D7B086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5014" y="3154680"/>
            <a:ext cx="4619669" cy="2754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95273FE-2E87-1247-A490-3B0F42572BB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747319" y="3154680"/>
            <a:ext cx="4619668" cy="2754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CAD07A0-CFA8-2C4A-A9DF-B41783E2B72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613577" y="2265452"/>
            <a:ext cx="3831106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F5346DB-E03A-1148-93B4-E867A632FC1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35881" y="2265452"/>
            <a:ext cx="3831106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DC2E4DEE-56A4-A657-8E3E-D7441C93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13E325B2-CE08-F913-8FD0-9CCCA4736EC1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26541687-5177-34E5-B2B9-2E25FE422C4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0F83D371-61EA-C049-BBC8-DB8AF4E08A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0B94962-96EE-49F8-8673-E4B7F27CEA78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5142F970-3D88-0E41-A7B8-46E0ED09D1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401DCE6-D342-B64E-AEEA-31E3F084CE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8EA0F611-5442-498A-9AE5-6D46453E51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6" y="2173673"/>
            <a:ext cx="629343" cy="629343"/>
          </a:xfrm>
          <a:prstGeom prst="rect">
            <a:avLst/>
          </a:prstGeom>
        </p:spPr>
      </p:pic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F61C6DBC-6256-4ED2-92BE-B69B0AB357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5013" y="2162881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39048D14-68EB-4329-9C96-7B20094EF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662" y="2173673"/>
            <a:ext cx="629343" cy="629343"/>
          </a:xfrm>
          <a:prstGeom prst="rect">
            <a:avLst/>
          </a:prstGeom>
        </p:spPr>
      </p:pic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1122048B-0A96-4A2C-89C4-367BFA85169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47319" y="2162881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2F0A5946-9B75-00ED-092E-67ED1D26BF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76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677329" y="4199872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4082653" y="4199871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B0D2639-96D6-0841-89B4-C806A9C1E076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7487978" y="4199870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6DE69C2-27DD-1240-ABC8-4422C1156D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ECFCC75B-58BA-4A69-A5C2-63B63B4BC312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822A560B-259C-FA42-A2D0-203DC1BD0B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FCC8FCC2-E7C7-184B-994F-3EE6779B7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131DB012-70C1-43ED-A25C-7F7053B511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651" y="2646198"/>
            <a:ext cx="1292753" cy="1292753"/>
          </a:xfrm>
          <a:prstGeom prst="rect">
            <a:avLst/>
          </a:prstGeom>
        </p:spPr>
      </p:pic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7A251496-655B-4CFE-9057-8509F9B3E9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59244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B519FC9B-1F10-4B34-867F-0EF612B7AC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975" y="2646198"/>
            <a:ext cx="1292753" cy="1292753"/>
          </a:xfrm>
          <a:prstGeom prst="rect">
            <a:avLst/>
          </a:prstGeom>
        </p:spPr>
      </p:pic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57F58FB9-1B43-4908-938C-685992B7E1E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564568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C76F875B-7770-48B7-BEE2-06D9ED1620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300" y="2646198"/>
            <a:ext cx="1292753" cy="1292753"/>
          </a:xfrm>
          <a:prstGeom prst="rect">
            <a:avLst/>
          </a:prstGeom>
        </p:spPr>
      </p:pic>
      <p:sp>
        <p:nvSpPr>
          <p:cNvPr id="43" name="Bildplatzhalter 4">
            <a:extLst>
              <a:ext uri="{FF2B5EF4-FFF2-40B4-BE49-F238E27FC236}">
                <a16:creationId xmlns:a16="http://schemas.microsoft.com/office/drawing/2014/main" id="{B3F4FEF2-1A92-45B8-816D-5AF3F7E2E9D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796989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58A526F-B213-5359-3E1B-A244B7B918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372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30EFC01F-74AE-2542-84AE-C4135942E2E3}"/>
              </a:ext>
            </a:extLst>
          </p:cNvPr>
          <p:cNvSpPr/>
          <p:nvPr userDrawn="1"/>
        </p:nvSpPr>
        <p:spPr>
          <a:xfrm>
            <a:off x="8116770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63CCD3ED-1888-B04E-B419-DB965F4C3E19}"/>
              </a:ext>
            </a:extLst>
          </p:cNvPr>
          <p:cNvSpPr/>
          <p:nvPr userDrawn="1"/>
        </p:nvSpPr>
        <p:spPr>
          <a:xfrm>
            <a:off x="4258971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52AD1895-94C7-2B46-9A42-4C94A98196B5}"/>
              </a:ext>
            </a:extLst>
          </p:cNvPr>
          <p:cNvSpPr/>
          <p:nvPr userDrawn="1"/>
        </p:nvSpPr>
        <p:spPr>
          <a:xfrm>
            <a:off x="401172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913F0FC4-C75B-3E41-9DA5-D344B5B89CD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470318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4A11357-2AA2-DD48-927B-BA576D7182C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5015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F1D2D54B-5829-7344-8812-6318B1B23D04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613578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FEE863F5-F942-A144-9041-F3F6C293F4B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681755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EAE349A4-F079-1749-9EBD-7FB103650316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539554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D92569B3-EA9F-9043-9B26-24CB3CA2B00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328117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8F769DE6-6052-64C7-9E7A-93537C291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8C4DD662-F79A-355E-BF0C-74D55DC0165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5C879F9D-7E5D-5A48-F548-7C9434FAC4E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568F5546-8B97-E64C-9ED9-0D14BC423C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D8EF801D-16CA-4DC3-9A58-B723FD480C69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9D1BE60D-BB44-E44E-AA14-3667EA6B5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4" name="Foliennummernplatzhalter 5">
            <a:extLst>
              <a:ext uri="{FF2B5EF4-FFF2-40B4-BE49-F238E27FC236}">
                <a16:creationId xmlns:a16="http://schemas.microsoft.com/office/drawing/2014/main" id="{08C4F841-81C0-FC48-BE51-D353B804E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D0DE4B5D-EB75-4E79-8F60-3ECB3B60B1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8" y="2167357"/>
            <a:ext cx="629343" cy="629343"/>
          </a:xfrm>
          <a:prstGeom prst="rect">
            <a:avLst/>
          </a:prstGeom>
        </p:spPr>
      </p:pic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D0B867A5-667C-42D0-ABEC-B39B933369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5015" y="215656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FE002293-DC41-4946-BF67-DFFE1CEEB9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098" y="2167357"/>
            <a:ext cx="629343" cy="629343"/>
          </a:xfrm>
          <a:prstGeom prst="rect">
            <a:avLst/>
          </a:prstGeom>
        </p:spPr>
      </p:pic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1132D6C3-0348-4A65-870B-967FEA2303D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81755" y="215656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96AF78A4-097A-42D0-BDF5-D47C63EA3C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2897" y="2167357"/>
            <a:ext cx="629343" cy="629343"/>
          </a:xfrm>
          <a:prstGeom prst="rect">
            <a:avLst/>
          </a:prstGeom>
        </p:spPr>
      </p:pic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9FDE5665-EEE4-43E4-BAAE-F3A51EC7EC8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539554" y="215656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74103F2-E598-2CD0-FE6A-9BA60E6D23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75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el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98DEC2F5-E90F-99B9-050E-B7B7693EA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E6C689BF-E482-EE41-9AAD-256666DD751A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258559" y="0"/>
            <a:ext cx="5933441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AT"/>
              <a:t>Bild in den Vordergrund bring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32EE295-763D-944A-934D-A4C6DA13AE0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6875" y="4569378"/>
            <a:ext cx="5268975" cy="16821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62ABF6D-68BA-DE40-B9BA-2F901B25D9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2336201"/>
            <a:ext cx="5268975" cy="2124492"/>
          </a:xfrm>
        </p:spPr>
        <p:txBody>
          <a:bodyPr lIns="0" tIns="0" rIns="0" bIns="0" anchor="b" anchorCtr="0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AT" dirty="0"/>
              <a:t>Titel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097569B2-9247-DF48-72D4-60D5B63AEB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6876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508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E0F618B5-F9DA-C44F-8ED5-0201D6A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2121640"/>
            <a:ext cx="3488071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D36F44E4-9DA9-294C-8081-39D1B9E5B449}"/>
              </a:ext>
            </a:extLst>
          </p:cNvPr>
          <p:cNvSpPr/>
          <p:nvPr userDrawn="1"/>
        </p:nvSpPr>
        <p:spPr>
          <a:xfrm>
            <a:off x="4279445" y="1729600"/>
            <a:ext cx="2635065" cy="4525959"/>
          </a:xfrm>
          <a:prstGeom prst="roundRect">
            <a:avLst>
              <a:gd name="adj" fmla="val 431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AD16272F-9C31-2B47-B45A-245CD81DB4F6}"/>
              </a:ext>
            </a:extLst>
          </p:cNvPr>
          <p:cNvSpPr/>
          <p:nvPr userDrawn="1"/>
        </p:nvSpPr>
        <p:spPr>
          <a:xfrm>
            <a:off x="9166041" y="1729600"/>
            <a:ext cx="2633186" cy="4525959"/>
          </a:xfrm>
          <a:prstGeom prst="roundRect">
            <a:avLst>
              <a:gd name="adj" fmla="val 431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6B843D3-C93C-9943-8DAF-7F3A3F9635FB}"/>
              </a:ext>
            </a:extLst>
          </p:cNvPr>
          <p:cNvSpPr/>
          <p:nvPr userDrawn="1"/>
        </p:nvSpPr>
        <p:spPr>
          <a:xfrm>
            <a:off x="6781296" y="1729600"/>
            <a:ext cx="2505971" cy="4525959"/>
          </a:xfrm>
          <a:prstGeom prst="roundRect">
            <a:avLst>
              <a:gd name="adj" fmla="val 0"/>
            </a:avLst>
          </a:prstGeom>
          <a:solidFill>
            <a:srgbClr val="97BC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Dreieck 23">
            <a:extLst>
              <a:ext uri="{FF2B5EF4-FFF2-40B4-BE49-F238E27FC236}">
                <a16:creationId xmlns:a16="http://schemas.microsoft.com/office/drawing/2014/main" id="{88347782-5135-8842-A314-8E7787507BD6}"/>
              </a:ext>
            </a:extLst>
          </p:cNvPr>
          <p:cNvSpPr/>
          <p:nvPr userDrawn="1"/>
        </p:nvSpPr>
        <p:spPr>
          <a:xfrm rot="5400000">
            <a:off x="6704418" y="3911287"/>
            <a:ext cx="314908" cy="162584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Dreieck 24">
            <a:extLst>
              <a:ext uri="{FF2B5EF4-FFF2-40B4-BE49-F238E27FC236}">
                <a16:creationId xmlns:a16="http://schemas.microsoft.com/office/drawing/2014/main" id="{E29E88ED-B0DD-094B-ADD3-AB5574A6585C}"/>
              </a:ext>
            </a:extLst>
          </p:cNvPr>
          <p:cNvSpPr/>
          <p:nvPr userDrawn="1"/>
        </p:nvSpPr>
        <p:spPr>
          <a:xfrm rot="16200000">
            <a:off x="9060025" y="3915270"/>
            <a:ext cx="314908" cy="154619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00335449-AFD2-2B40-A9E9-ACC1116CD00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00237" y="3498109"/>
            <a:ext cx="3321002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A8979F66-66A2-8B49-BF67-0BC7C445223F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4634187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05984486-9EC6-D749-97EC-3A008E51BF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7139142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07787C83-C631-E74B-BA2D-129350051D6B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656235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1497FEE2-CC14-19ED-D148-870573398AF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EF6FB6D-4E54-4E10-5997-2D926BE9AC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4" name="Datumsplatzhalter 3">
            <a:extLst>
              <a:ext uri="{FF2B5EF4-FFF2-40B4-BE49-F238E27FC236}">
                <a16:creationId xmlns:a16="http://schemas.microsoft.com/office/drawing/2014/main" id="{2703EDBC-F233-1447-9CC8-DE7F310B0A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D59A5431-4D68-4473-AD44-5DAF263D43F8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F274BB32-92DC-8B4E-BCA9-46006A1AB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BD16DF66-9666-0745-A8FD-5BCFEC800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08D85A4F-2EB5-496A-9127-BA5D5E6C41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700" y="2299184"/>
            <a:ext cx="629343" cy="629343"/>
          </a:xfrm>
          <a:prstGeom prst="rect">
            <a:avLst/>
          </a:prstGeom>
        </p:spPr>
      </p:pic>
      <p:sp>
        <p:nvSpPr>
          <p:cNvPr id="37" name="Bildplatzhalter 4">
            <a:extLst>
              <a:ext uri="{FF2B5EF4-FFF2-40B4-BE49-F238E27FC236}">
                <a16:creationId xmlns:a16="http://schemas.microsoft.com/office/drawing/2014/main" id="{48E3FC84-EBB2-420F-BAC1-33287A84282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02357" y="2288392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C73CBAA1-F7A5-408D-BF1B-60A702195A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887" y="2299184"/>
            <a:ext cx="629343" cy="629343"/>
          </a:xfrm>
          <a:prstGeom prst="rect">
            <a:avLst/>
          </a:prstGeom>
        </p:spPr>
      </p:pic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699A9320-9790-4BB5-8F0C-9AF7E086B6A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20544" y="2288392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1EFDA433-FE46-4AE8-AD5E-81B079B69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774" y="2299184"/>
            <a:ext cx="629343" cy="629343"/>
          </a:xfrm>
          <a:prstGeom prst="rect">
            <a:avLst/>
          </a:prstGeom>
        </p:spPr>
      </p:pic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1D505D37-8734-46CD-B404-4AEB3B71FBC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249431" y="2288392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38A11893-246C-6C44-E17F-5A903B1BB2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24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416279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2956993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B0D2639-96D6-0841-89B4-C806A9C1E076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5497707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F870027-F839-7283-76B1-976F55796F12}"/>
              </a:ext>
            </a:extLst>
          </p:cNvPr>
          <p:cNvSpPr>
            <a:spLocks noGrp="1"/>
          </p:cNvSpPr>
          <p:nvPr>
            <p:ph type="body" sz="half" idx="42" hasCustomPrompt="1"/>
          </p:nvPr>
        </p:nvSpPr>
        <p:spPr>
          <a:xfrm>
            <a:off x="8038421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BDD0CB56-6DC7-2D4A-A2B5-8232593C1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07B6AC0-ED8F-4E05-9F9F-3FEFA4CF165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ADA55C67-F141-3846-BC14-3BD82EC7B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41" name="Foliennummernplatzhalter 5">
            <a:extLst>
              <a:ext uri="{FF2B5EF4-FFF2-40B4-BE49-F238E27FC236}">
                <a16:creationId xmlns:a16="http://schemas.microsoft.com/office/drawing/2014/main" id="{8131B1E1-4C06-A246-B78F-1653CD9FF7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B96D691C-A5E5-4D65-89B1-03554981B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822" y="2646198"/>
            <a:ext cx="1292753" cy="1292753"/>
          </a:xfrm>
          <a:prstGeom prst="rect">
            <a:avLst/>
          </a:prstGeom>
        </p:spPr>
      </p:pic>
      <p:sp>
        <p:nvSpPr>
          <p:cNvPr id="43" name="Bildplatzhalter 4">
            <a:extLst>
              <a:ext uri="{FF2B5EF4-FFF2-40B4-BE49-F238E27FC236}">
                <a16:creationId xmlns:a16="http://schemas.microsoft.com/office/drawing/2014/main" id="{7F4CB59A-D2DB-433A-AB2E-00459AE856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0415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D3469296-A8F7-4F13-98F2-EF005E5A2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536" y="2646198"/>
            <a:ext cx="1292753" cy="1292753"/>
          </a:xfrm>
          <a:prstGeom prst="rect">
            <a:avLst/>
          </a:prstGeom>
        </p:spPr>
      </p:pic>
      <p:sp>
        <p:nvSpPr>
          <p:cNvPr id="45" name="Bildplatzhalter 4">
            <a:extLst>
              <a:ext uri="{FF2B5EF4-FFF2-40B4-BE49-F238E27FC236}">
                <a16:creationId xmlns:a16="http://schemas.microsoft.com/office/drawing/2014/main" id="{532D714E-D414-4DF6-8B88-6EF047BF8084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261129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CA988DEF-6BFB-4BBA-8657-DF63FC370C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250" y="2646198"/>
            <a:ext cx="1292753" cy="1292753"/>
          </a:xfrm>
          <a:prstGeom prst="rect">
            <a:avLst/>
          </a:prstGeom>
        </p:spPr>
      </p:pic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2B961400-115D-4300-BB3B-9300AC1B483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80184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5EB28090-7D7C-49ED-9176-526F92F7CE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964" y="2646198"/>
            <a:ext cx="1292753" cy="1292753"/>
          </a:xfrm>
          <a:prstGeom prst="rect">
            <a:avLst/>
          </a:prstGeom>
        </p:spPr>
      </p:pic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5084776E-B245-46A2-821A-1023A548ABA5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342557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2D54D64B-939B-C359-6921-DA4A92CD4D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832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533CB98D-45A2-C041-9FD1-6CD6E96A1FED}"/>
              </a:ext>
            </a:extLst>
          </p:cNvPr>
          <p:cNvSpPr/>
          <p:nvPr userDrawn="1"/>
        </p:nvSpPr>
        <p:spPr>
          <a:xfrm>
            <a:off x="393363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594CB974-28E1-2F4B-AB9A-70881D145F9C}"/>
              </a:ext>
            </a:extLst>
          </p:cNvPr>
          <p:cNvSpPr/>
          <p:nvPr userDrawn="1"/>
        </p:nvSpPr>
        <p:spPr>
          <a:xfrm>
            <a:off x="3371675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7896248E-FE49-6A4E-9013-489797A4A0AC}"/>
              </a:ext>
            </a:extLst>
          </p:cNvPr>
          <p:cNvSpPr/>
          <p:nvPr userDrawn="1"/>
        </p:nvSpPr>
        <p:spPr>
          <a:xfrm>
            <a:off x="6349987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131C4AED-1F76-F848-89B2-D3B976E87700}"/>
              </a:ext>
            </a:extLst>
          </p:cNvPr>
          <p:cNvSpPr/>
          <p:nvPr userDrawn="1"/>
        </p:nvSpPr>
        <p:spPr>
          <a:xfrm>
            <a:off x="9328298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B1E9CD3B-464C-6A4E-A6E5-C6A7B035964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616789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B129C2F4-D38D-BF42-9BC7-BBA621DFDD38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9573412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D6D39BD4-6429-9B48-831E-94E8E104546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595101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F3C642BD-118D-504B-95EB-5AA00B19ADB3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595101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605E3364-A483-2342-A45B-E59BB3FBBF9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9573412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28CD9F24-2CE3-4647-AC32-E54F8FDF6A1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3616789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A9822D4E-4F96-4247-9A66-6E1CB2DD2AC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38477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  <a:p>
            <a:pPr lvl="0"/>
            <a:endParaRPr lang="de-AT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47F85AD-293E-3C40-807E-29A154A766C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8477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A7D0B770-0D01-6AD6-EE18-4026E9AEA1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34BE67E0-BB4D-1DC5-62F8-F3B95AE6B86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A02164A3-2BE3-C19F-4EF5-9AFE9222D83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41" name="Datumsplatzhalter 3">
            <a:extLst>
              <a:ext uri="{FF2B5EF4-FFF2-40B4-BE49-F238E27FC236}">
                <a16:creationId xmlns:a16="http://schemas.microsoft.com/office/drawing/2014/main" id="{AD61BB0F-A6B1-6D4A-B549-0F197AF56E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B3D551C-5267-4ECF-B65C-76B006D33503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42" name="Fußzeilenplatzhalter 4">
            <a:extLst>
              <a:ext uri="{FF2B5EF4-FFF2-40B4-BE49-F238E27FC236}">
                <a16:creationId xmlns:a16="http://schemas.microsoft.com/office/drawing/2014/main" id="{9E4B8D9B-ECC4-2A49-B62C-9728BE63D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43" name="Foliennummernplatzhalter 5">
            <a:extLst>
              <a:ext uri="{FF2B5EF4-FFF2-40B4-BE49-F238E27FC236}">
                <a16:creationId xmlns:a16="http://schemas.microsoft.com/office/drawing/2014/main" id="{48DCD277-5FE6-F941-A054-F98478F1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2F92C130-72BC-4DB3-B43A-3A24D2325B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444" y="1817018"/>
            <a:ext cx="629343" cy="629343"/>
          </a:xfrm>
          <a:prstGeom prst="rect">
            <a:avLst/>
          </a:prstGeom>
        </p:spPr>
      </p:pic>
      <p:sp>
        <p:nvSpPr>
          <p:cNvPr id="45" name="Bildplatzhalter 4">
            <a:extLst>
              <a:ext uri="{FF2B5EF4-FFF2-40B4-BE49-F238E27FC236}">
                <a16:creationId xmlns:a16="http://schemas.microsoft.com/office/drawing/2014/main" id="{094CC19E-20D1-44CC-A1CE-66996D1A3A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595101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07948D3A-078E-4920-A4D1-B712391802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6755" y="1817018"/>
            <a:ext cx="629343" cy="629343"/>
          </a:xfrm>
          <a:prstGeom prst="rect">
            <a:avLst/>
          </a:prstGeom>
        </p:spPr>
      </p:pic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708A91A9-7F39-48FB-9AB3-1E8EB6527C2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573412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A7B7ECFF-BB19-4EE2-8C41-5DAA561B28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132" y="1817018"/>
            <a:ext cx="629343" cy="629343"/>
          </a:xfrm>
          <a:prstGeom prst="rect">
            <a:avLst/>
          </a:prstGeom>
        </p:spPr>
      </p:pic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2D14C306-FAFA-4D72-A844-E65CC38B09D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16789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7628D6EE-2768-4574-85F7-CF040A871D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0" y="1817018"/>
            <a:ext cx="629343" cy="629343"/>
          </a:xfrm>
          <a:prstGeom prst="rect">
            <a:avLst/>
          </a:prstGeom>
        </p:spPr>
      </p:pic>
      <p:sp>
        <p:nvSpPr>
          <p:cNvPr id="55" name="Bildplatzhalter 4">
            <a:extLst>
              <a:ext uri="{FF2B5EF4-FFF2-40B4-BE49-F238E27FC236}">
                <a16:creationId xmlns:a16="http://schemas.microsoft.com/office/drawing/2014/main" id="{D18FCE38-246F-4E23-9F9A-85B7FB497FC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8477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E716B1E-FC00-8B24-FFF4-064DD8FC2D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3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_Text + Icon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 22">
            <a:extLst>
              <a:ext uri="{FF2B5EF4-FFF2-40B4-BE49-F238E27FC236}">
                <a16:creationId xmlns:a16="http://schemas.microsoft.com/office/drawing/2014/main" id="{43F2DE30-7BFF-FE4B-AFB2-27186EC9B3D5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3EF21B42-8A42-CF4F-8EB5-78D52D4622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237" y="2465242"/>
            <a:ext cx="5824899" cy="35134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1066182F-0251-9641-9766-049375F12F97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6699804" y="3227363"/>
            <a:ext cx="3385503" cy="275133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CF0E130-BDFF-50CE-0BEF-37088CC88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B38ECCA-4A43-C9D6-2CA4-F90226552A5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7CCFBB9-6E54-8D87-F549-B25E2F218C5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06EDA86A-5AD0-BE4B-B83B-590A806332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3C3152E0-5C8F-4514-91E0-2079C1F7522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A474A3E-47B0-4B4E-8A98-05BFBB09B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754565D2-E5E1-E043-93C4-44DE30567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35075BB-8DAB-4669-82F0-0E15EB31EC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3147" y="2393202"/>
            <a:ext cx="629343" cy="629343"/>
          </a:xfrm>
          <a:prstGeom prst="rect">
            <a:avLst/>
          </a:prstGeom>
        </p:spPr>
      </p:pic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3A82EAF7-FC02-4FCC-A98F-43AB299C99C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99804" y="2382410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47330BF-43A2-7908-E60E-433714581D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17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_Text + Icon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ihandform 41">
            <a:extLst>
              <a:ext uri="{FF2B5EF4-FFF2-40B4-BE49-F238E27FC236}">
                <a16:creationId xmlns:a16="http://schemas.microsoft.com/office/drawing/2014/main" id="{151A7481-6AE7-FE41-8CB1-A8B4FAE35D49}"/>
              </a:ext>
            </a:extLst>
          </p:cNvPr>
          <p:cNvSpPr/>
          <p:nvPr userDrawn="1"/>
        </p:nvSpPr>
        <p:spPr>
          <a:xfrm>
            <a:off x="400048" y="1715887"/>
            <a:ext cx="6223818" cy="2215376"/>
          </a:xfrm>
          <a:custGeom>
            <a:avLst/>
            <a:gdLst>
              <a:gd name="connsiteX0" fmla="*/ 114601 w 6223818"/>
              <a:gd name="connsiteY0" fmla="*/ 0 h 2215376"/>
              <a:gd name="connsiteX1" fmla="*/ 6109217 w 6223818"/>
              <a:gd name="connsiteY1" fmla="*/ 0 h 2215376"/>
              <a:gd name="connsiteX2" fmla="*/ 6116033 w 6223818"/>
              <a:gd name="connsiteY2" fmla="*/ 1376 h 2215376"/>
              <a:gd name="connsiteX3" fmla="*/ 6223818 w 6223818"/>
              <a:gd name="connsiteY3" fmla="*/ 1376 h 2215376"/>
              <a:gd name="connsiteX4" fmla="*/ 6223818 w 6223818"/>
              <a:gd name="connsiteY4" fmla="*/ 114601 h 2215376"/>
              <a:gd name="connsiteX5" fmla="*/ 6223818 w 6223818"/>
              <a:gd name="connsiteY5" fmla="*/ 2100775 h 2215376"/>
              <a:gd name="connsiteX6" fmla="*/ 6223818 w 6223818"/>
              <a:gd name="connsiteY6" fmla="*/ 2215376 h 2215376"/>
              <a:gd name="connsiteX7" fmla="*/ 6109217 w 6223818"/>
              <a:gd name="connsiteY7" fmla="*/ 2215376 h 2215376"/>
              <a:gd name="connsiteX8" fmla="*/ 5783980 w 6223818"/>
              <a:gd name="connsiteY8" fmla="*/ 2215376 h 2215376"/>
              <a:gd name="connsiteX9" fmla="*/ 114601 w 6223818"/>
              <a:gd name="connsiteY9" fmla="*/ 2215376 h 2215376"/>
              <a:gd name="connsiteX10" fmla="*/ 0 w 6223818"/>
              <a:gd name="connsiteY10" fmla="*/ 2100775 h 2215376"/>
              <a:gd name="connsiteX11" fmla="*/ 0 w 6223818"/>
              <a:gd name="connsiteY11" fmla="*/ 114601 h 2215376"/>
              <a:gd name="connsiteX12" fmla="*/ 114601 w 6223818"/>
              <a:gd name="connsiteY12" fmla="*/ 0 h 221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23818" h="2215376">
                <a:moveTo>
                  <a:pt x="114601" y="0"/>
                </a:moveTo>
                <a:lnTo>
                  <a:pt x="6109217" y="0"/>
                </a:lnTo>
                <a:lnTo>
                  <a:pt x="6116033" y="1376"/>
                </a:lnTo>
                <a:lnTo>
                  <a:pt x="6223818" y="1376"/>
                </a:lnTo>
                <a:lnTo>
                  <a:pt x="6223818" y="114601"/>
                </a:lnTo>
                <a:lnTo>
                  <a:pt x="6223818" y="2100775"/>
                </a:lnTo>
                <a:lnTo>
                  <a:pt x="6223818" y="2215376"/>
                </a:lnTo>
                <a:lnTo>
                  <a:pt x="6109217" y="2215376"/>
                </a:lnTo>
                <a:lnTo>
                  <a:pt x="5783980" y="2215376"/>
                </a:lnTo>
                <a:lnTo>
                  <a:pt x="114601" y="2215376"/>
                </a:lnTo>
                <a:cubicBezTo>
                  <a:pt x="51309" y="2215376"/>
                  <a:pt x="0" y="2164067"/>
                  <a:pt x="0" y="2100775"/>
                </a:cubicBezTo>
                <a:lnTo>
                  <a:pt x="0" y="114601"/>
                </a:lnTo>
                <a:cubicBezTo>
                  <a:pt x="0" y="51309"/>
                  <a:pt x="51309" y="0"/>
                  <a:pt x="11460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5C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Freihandform 43">
            <a:extLst>
              <a:ext uri="{FF2B5EF4-FFF2-40B4-BE49-F238E27FC236}">
                <a16:creationId xmlns:a16="http://schemas.microsoft.com/office/drawing/2014/main" id="{94786F6E-249E-3349-8FCD-4CC98B185745}"/>
              </a:ext>
            </a:extLst>
          </p:cNvPr>
          <p:cNvSpPr/>
          <p:nvPr userDrawn="1"/>
        </p:nvSpPr>
        <p:spPr>
          <a:xfrm>
            <a:off x="400048" y="4040184"/>
            <a:ext cx="6223818" cy="2215376"/>
          </a:xfrm>
          <a:custGeom>
            <a:avLst/>
            <a:gdLst>
              <a:gd name="connsiteX0" fmla="*/ 114601 w 6223818"/>
              <a:gd name="connsiteY0" fmla="*/ 0 h 2215376"/>
              <a:gd name="connsiteX1" fmla="*/ 6109217 w 6223818"/>
              <a:gd name="connsiteY1" fmla="*/ 0 h 2215376"/>
              <a:gd name="connsiteX2" fmla="*/ 6116033 w 6223818"/>
              <a:gd name="connsiteY2" fmla="*/ 1376 h 2215376"/>
              <a:gd name="connsiteX3" fmla="*/ 6223818 w 6223818"/>
              <a:gd name="connsiteY3" fmla="*/ 1376 h 2215376"/>
              <a:gd name="connsiteX4" fmla="*/ 6223818 w 6223818"/>
              <a:gd name="connsiteY4" fmla="*/ 114601 h 2215376"/>
              <a:gd name="connsiteX5" fmla="*/ 6223818 w 6223818"/>
              <a:gd name="connsiteY5" fmla="*/ 2100775 h 2215376"/>
              <a:gd name="connsiteX6" fmla="*/ 6223818 w 6223818"/>
              <a:gd name="connsiteY6" fmla="*/ 2215376 h 2215376"/>
              <a:gd name="connsiteX7" fmla="*/ 6109217 w 6223818"/>
              <a:gd name="connsiteY7" fmla="*/ 2215376 h 2215376"/>
              <a:gd name="connsiteX8" fmla="*/ 5783980 w 6223818"/>
              <a:gd name="connsiteY8" fmla="*/ 2215376 h 2215376"/>
              <a:gd name="connsiteX9" fmla="*/ 114601 w 6223818"/>
              <a:gd name="connsiteY9" fmla="*/ 2215376 h 2215376"/>
              <a:gd name="connsiteX10" fmla="*/ 0 w 6223818"/>
              <a:gd name="connsiteY10" fmla="*/ 2100775 h 2215376"/>
              <a:gd name="connsiteX11" fmla="*/ 0 w 6223818"/>
              <a:gd name="connsiteY11" fmla="*/ 114601 h 2215376"/>
              <a:gd name="connsiteX12" fmla="*/ 114601 w 6223818"/>
              <a:gd name="connsiteY12" fmla="*/ 0 h 221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23818" h="2215376">
                <a:moveTo>
                  <a:pt x="114601" y="0"/>
                </a:moveTo>
                <a:lnTo>
                  <a:pt x="6109217" y="0"/>
                </a:lnTo>
                <a:lnTo>
                  <a:pt x="6116033" y="1376"/>
                </a:lnTo>
                <a:lnTo>
                  <a:pt x="6223818" y="1376"/>
                </a:lnTo>
                <a:lnTo>
                  <a:pt x="6223818" y="114601"/>
                </a:lnTo>
                <a:lnTo>
                  <a:pt x="6223818" y="2100775"/>
                </a:lnTo>
                <a:lnTo>
                  <a:pt x="6223818" y="2215376"/>
                </a:lnTo>
                <a:lnTo>
                  <a:pt x="6109217" y="2215376"/>
                </a:lnTo>
                <a:lnTo>
                  <a:pt x="5783980" y="2215376"/>
                </a:lnTo>
                <a:lnTo>
                  <a:pt x="114601" y="2215376"/>
                </a:lnTo>
                <a:cubicBezTo>
                  <a:pt x="51309" y="2215376"/>
                  <a:pt x="0" y="2164067"/>
                  <a:pt x="0" y="2100775"/>
                </a:cubicBezTo>
                <a:lnTo>
                  <a:pt x="0" y="114601"/>
                </a:lnTo>
                <a:cubicBezTo>
                  <a:pt x="0" y="51309"/>
                  <a:pt x="51309" y="0"/>
                  <a:pt x="11460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5C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30537EED-8A6D-5244-BE74-3BF3F4C183FB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772907" y="2627934"/>
            <a:ext cx="4365019" cy="1047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A72865C-7CE1-B140-848E-3E34E117DF06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772907" y="2068129"/>
            <a:ext cx="4365019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6B1A19CD-7516-3249-B404-FBA7A861AB2B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1772907" y="4956984"/>
            <a:ext cx="4365019" cy="1048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endParaRPr lang="de-AT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EF94081-2799-0047-B653-9C23057A90E3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1772907" y="4397178"/>
            <a:ext cx="4365019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BCA97F54-1427-9858-5A14-553984366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A2C13D71-4BF2-6E0A-8682-45E6346DC9A7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364BBA5-6D13-210C-312E-3904E0277B8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BCB3462D-5633-6D4A-9336-550C63263E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B74478B-045B-4EA8-AEA8-48403493D185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652BB4ED-0DA1-A84C-AC89-2FB9C6D25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C0E63DA2-324D-394A-9C50-D4BCA29A8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26" name="Bildplatzhalter 61">
            <a:extLst>
              <a:ext uri="{FF2B5EF4-FFF2-40B4-BE49-F238E27FC236}">
                <a16:creationId xmlns:a16="http://schemas.microsoft.com/office/drawing/2014/main" id="{A0D6AFAC-6417-F048-9432-B3A6AC71CA6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623866" y="1716706"/>
            <a:ext cx="5168085" cy="2214229"/>
          </a:xfrm>
          <a:custGeom>
            <a:avLst/>
            <a:gdLst>
              <a:gd name="connsiteX0" fmla="*/ 0 w 5168085"/>
              <a:gd name="connsiteY0" fmla="*/ 0 h 1962150"/>
              <a:gd name="connsiteX1" fmla="*/ 5111987 w 5168085"/>
              <a:gd name="connsiteY1" fmla="*/ 0 h 1962150"/>
              <a:gd name="connsiteX2" fmla="*/ 5168085 w 5168085"/>
              <a:gd name="connsiteY2" fmla="*/ 56098 h 1962150"/>
              <a:gd name="connsiteX3" fmla="*/ 5168085 w 5168085"/>
              <a:gd name="connsiteY3" fmla="*/ 1906052 h 1962150"/>
              <a:gd name="connsiteX4" fmla="*/ 5111987 w 5168085"/>
              <a:gd name="connsiteY4" fmla="*/ 1962150 h 1962150"/>
              <a:gd name="connsiteX5" fmla="*/ 0 w 5168085"/>
              <a:gd name="connsiteY5" fmla="*/ 1962150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085" h="1962150">
                <a:moveTo>
                  <a:pt x="0" y="0"/>
                </a:moveTo>
                <a:lnTo>
                  <a:pt x="5111987" y="0"/>
                </a:lnTo>
                <a:cubicBezTo>
                  <a:pt x="5142969" y="0"/>
                  <a:pt x="5168085" y="25116"/>
                  <a:pt x="5168085" y="56098"/>
                </a:cubicBezTo>
                <a:lnTo>
                  <a:pt x="5168085" y="1906052"/>
                </a:lnTo>
                <a:cubicBezTo>
                  <a:pt x="5168085" y="1937034"/>
                  <a:pt x="5142969" y="1962150"/>
                  <a:pt x="5111987" y="1962150"/>
                </a:cubicBezTo>
                <a:lnTo>
                  <a:pt x="0" y="19621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7" name="Bildplatzhalter 62">
            <a:extLst>
              <a:ext uri="{FF2B5EF4-FFF2-40B4-BE49-F238E27FC236}">
                <a16:creationId xmlns:a16="http://schemas.microsoft.com/office/drawing/2014/main" id="{232B75BC-51DD-AC43-94CA-0BDE32C15D4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23866" y="4041331"/>
            <a:ext cx="5168085" cy="2214229"/>
          </a:xfrm>
          <a:custGeom>
            <a:avLst/>
            <a:gdLst>
              <a:gd name="connsiteX0" fmla="*/ 0 w 5168085"/>
              <a:gd name="connsiteY0" fmla="*/ 0 h 1962150"/>
              <a:gd name="connsiteX1" fmla="*/ 5111987 w 5168085"/>
              <a:gd name="connsiteY1" fmla="*/ 0 h 1962150"/>
              <a:gd name="connsiteX2" fmla="*/ 5168085 w 5168085"/>
              <a:gd name="connsiteY2" fmla="*/ 56098 h 1962150"/>
              <a:gd name="connsiteX3" fmla="*/ 5168085 w 5168085"/>
              <a:gd name="connsiteY3" fmla="*/ 1906052 h 1962150"/>
              <a:gd name="connsiteX4" fmla="*/ 5111987 w 5168085"/>
              <a:gd name="connsiteY4" fmla="*/ 1962150 h 1962150"/>
              <a:gd name="connsiteX5" fmla="*/ 0 w 5168085"/>
              <a:gd name="connsiteY5" fmla="*/ 1962150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085" h="1962150">
                <a:moveTo>
                  <a:pt x="0" y="0"/>
                </a:moveTo>
                <a:lnTo>
                  <a:pt x="5111987" y="0"/>
                </a:lnTo>
                <a:cubicBezTo>
                  <a:pt x="5142969" y="0"/>
                  <a:pt x="5168085" y="25116"/>
                  <a:pt x="5168085" y="56098"/>
                </a:cubicBezTo>
                <a:lnTo>
                  <a:pt x="5168085" y="1906052"/>
                </a:lnTo>
                <a:cubicBezTo>
                  <a:pt x="5168085" y="1937034"/>
                  <a:pt x="5142969" y="1962150"/>
                  <a:pt x="5111987" y="1962150"/>
                </a:cubicBezTo>
                <a:lnTo>
                  <a:pt x="0" y="19621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DEF3342-0FE3-407A-A36A-4FB9B75C6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96" y="1987800"/>
            <a:ext cx="629343" cy="629343"/>
          </a:xfrm>
          <a:prstGeom prst="rect">
            <a:avLst/>
          </a:prstGeom>
        </p:spPr>
      </p:pic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FEE577C3-EE90-457A-98FE-B8F26C3752C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57053" y="1977008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CBCC61C9-38D2-4B17-9C16-8ABC2EA6D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96" y="4316850"/>
            <a:ext cx="629343" cy="629343"/>
          </a:xfrm>
          <a:prstGeom prst="rect">
            <a:avLst/>
          </a:prstGeom>
        </p:spPr>
      </p:pic>
      <p:sp>
        <p:nvSpPr>
          <p:cNvPr id="38" name="Bildplatzhalter 4">
            <a:extLst>
              <a:ext uri="{FF2B5EF4-FFF2-40B4-BE49-F238E27FC236}">
                <a16:creationId xmlns:a16="http://schemas.microsoft.com/office/drawing/2014/main" id="{9932814C-41EE-49AF-B861-701C5FC35C8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57053" y="4306058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4A61874A-2C54-AE26-5FD7-E5B3590808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504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_Text + Icon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98B7585-B20F-6F40-91C3-882D938A86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049" y="2198622"/>
            <a:ext cx="3764149" cy="4056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B14617F2-F39E-E548-877B-1EB0A0C63A23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620198" y="3227362"/>
            <a:ext cx="3385503" cy="30281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B89DDCA-8A8E-6440-AE0A-16E8BC25F5C8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8406448" y="3227363"/>
            <a:ext cx="3385503" cy="30281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29669320-B28F-168B-A778-EEE6EE825B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360474E8-08DB-DFDE-1164-1AAE3697DA9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12BAB86-FCE6-25E9-CA2B-24148C7DC60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250E9426-8B06-7B41-B8CE-4B79F42EE9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C35E308-6D1A-4DE8-BC35-F1E6C1ECBFE0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719811F4-DABC-E34A-97D8-E720CAC8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6ADD92BC-1B94-234B-8CF4-DB8AA7B73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CBC1375-CBCA-48A8-97F3-AB5456F606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541" y="2327915"/>
            <a:ext cx="629343" cy="629343"/>
          </a:xfrm>
          <a:prstGeom prst="rect">
            <a:avLst/>
          </a:prstGeom>
        </p:spPr>
      </p:pic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B3D79872-035C-4932-8088-1546C6E5ED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20198" y="2317123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4444AE61-4C61-46BB-8191-F738C0EFBC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791" y="2327915"/>
            <a:ext cx="629343" cy="629343"/>
          </a:xfrm>
          <a:prstGeom prst="rect">
            <a:avLst/>
          </a:prstGeom>
        </p:spPr>
      </p:pic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C42CE31B-1954-42D6-9CFD-A0E051E2D57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406448" y="2317123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2F75C4A7-20CD-3037-410A-1EBBD76878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80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C080DB3-2422-2346-8E20-5231731FCC48}"/>
              </a:ext>
            </a:extLst>
          </p:cNvPr>
          <p:cNvSpPr/>
          <p:nvPr userDrawn="1"/>
        </p:nvSpPr>
        <p:spPr>
          <a:xfrm>
            <a:off x="0" y="0"/>
            <a:ext cx="454761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4732B8A6-38DD-334F-A18E-C4081C5BBF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2" y="2647758"/>
            <a:ext cx="2618401" cy="1456155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28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Headline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82747BB1-CB37-8B42-9AE3-2C5E4BE58E6B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393363" y="5272702"/>
            <a:ext cx="2618402" cy="98285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27" name="Bildplatzhalter 2">
            <a:extLst>
              <a:ext uri="{FF2B5EF4-FFF2-40B4-BE49-F238E27FC236}">
                <a16:creationId xmlns:a16="http://schemas.microsoft.com/office/drawing/2014/main" id="{504B6539-6EBF-E344-9BC4-475416C59E1E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553355" y="1213653"/>
            <a:ext cx="8238596" cy="50419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0D39892F-EDC8-3A33-99FB-AB0285A48107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CCB4BD93-3BB5-C879-3C4F-216EB2E7D2D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8FD88F99-4CF3-AE4E-B8D6-033CDEAD3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8A116D9B-09A1-4F98-9907-34765BE39A2E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48D2F0AA-CAF2-E44C-BE0D-A676CBD4DA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A8AB85D1-18F5-0E42-8686-15EC37BF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3FE8F863-2A51-1797-DBB3-1F82FA7D2C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258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6828B6F-02BB-2349-983A-6B9141D9DEFD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2611228"/>
            <a:ext cx="5617635" cy="12625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858715E-2102-994D-9A68-A211BB1AB6C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00237" y="2030155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7A27801-52C0-D848-BEC2-79B1A356AB4E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00237" y="4987858"/>
            <a:ext cx="5617635" cy="12622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EF313A1-1D0E-9040-A6C6-6C96DBA030E4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400237" y="4416926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33888C05-E457-4F4B-9EDC-F520DAE79F0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24639" y="1700213"/>
            <a:ext cx="5167312" cy="2173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119DE5DE-2CC0-1A42-B920-68DEA552C96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624639" y="4077978"/>
            <a:ext cx="5167312" cy="2173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9F2F5A74-3B9B-5DD8-5148-7D20609ADF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F4276CBF-3BB9-6105-1BCA-93EB1F86491F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370DE8B6-1933-3A90-8996-114A8F6F5E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650C926F-B9AA-C542-9FD5-8416FB1E15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B0AC1BF-4781-4699-99E2-B6B754C9FEDB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D00D352E-492E-B048-8679-FEB69B364D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40651042-D9B3-A846-919F-D0CFAB1BA1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35615F28-824C-57C8-51DC-0FC61EC83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92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B456B22-3F48-5944-9488-8EB31188650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290750" y="1700213"/>
            <a:ext cx="2501201" cy="4552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B1368E82-47A7-A846-B460-480035412BCB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609061" y="1700213"/>
            <a:ext cx="2501201" cy="4552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8DC05CBE-AEFB-5E44-B5AD-BA54145E6C67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2285898"/>
            <a:ext cx="5617635" cy="39664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7D52C04E-DF32-814B-93E2-9790FA714485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00237" y="1700213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B82C348-0A46-FA91-810C-5ED051807C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C238440-388B-B914-4709-FBCC363BDF66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FC048C-AF6A-47C4-550D-DA5DA7690D1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4A4E116A-684A-EA4A-98F6-A8C9345843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2A2EA21-3B2C-430A-932E-E882882B0CC4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C938FE6B-6797-DB47-A4A9-1019FEACF3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213FB44-7DEB-9A4E-9B86-BB779D2DF9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A20D3BD7-D176-B129-F70B-3FFCD94B75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56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ihandform 32">
            <a:extLst>
              <a:ext uri="{FF2B5EF4-FFF2-40B4-BE49-F238E27FC236}">
                <a16:creationId xmlns:a16="http://schemas.microsoft.com/office/drawing/2014/main" id="{100089C6-5246-4F47-AB79-A79E0CB2F428}"/>
              </a:ext>
            </a:extLst>
          </p:cNvPr>
          <p:cNvSpPr/>
          <p:nvPr userDrawn="1"/>
        </p:nvSpPr>
        <p:spPr>
          <a:xfrm>
            <a:off x="394951" y="3907472"/>
            <a:ext cx="5456762" cy="2348084"/>
          </a:xfrm>
          <a:custGeom>
            <a:avLst/>
            <a:gdLst>
              <a:gd name="connsiteX0" fmla="*/ 0 w 5456762"/>
              <a:gd name="connsiteY0" fmla="*/ 0 h 2348084"/>
              <a:gd name="connsiteX1" fmla="*/ 5456762 w 5456762"/>
              <a:gd name="connsiteY1" fmla="*/ 0 h 2348084"/>
              <a:gd name="connsiteX2" fmla="*/ 5456762 w 5456762"/>
              <a:gd name="connsiteY2" fmla="*/ 468487 h 2348084"/>
              <a:gd name="connsiteX3" fmla="*/ 5456762 w 5456762"/>
              <a:gd name="connsiteY3" fmla="*/ 593401 h 2348084"/>
              <a:gd name="connsiteX4" fmla="*/ 5456762 w 5456762"/>
              <a:gd name="connsiteY4" fmla="*/ 2260415 h 2348084"/>
              <a:gd name="connsiteX5" fmla="*/ 5369093 w 5456762"/>
              <a:gd name="connsiteY5" fmla="*/ 2348084 h 2348084"/>
              <a:gd name="connsiteX6" fmla="*/ 92955 w 5456762"/>
              <a:gd name="connsiteY6" fmla="*/ 2348084 h 2348084"/>
              <a:gd name="connsiteX7" fmla="*/ 5286 w 5456762"/>
              <a:gd name="connsiteY7" fmla="*/ 2260415 h 2348084"/>
              <a:gd name="connsiteX8" fmla="*/ 5286 w 5456762"/>
              <a:gd name="connsiteY8" fmla="*/ 593401 h 2348084"/>
              <a:gd name="connsiteX9" fmla="*/ 0 w 5456762"/>
              <a:gd name="connsiteY9" fmla="*/ 593401 h 2348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762" h="2348084">
                <a:moveTo>
                  <a:pt x="0" y="0"/>
                </a:moveTo>
                <a:lnTo>
                  <a:pt x="5456762" y="0"/>
                </a:lnTo>
                <a:lnTo>
                  <a:pt x="5456762" y="468487"/>
                </a:lnTo>
                <a:lnTo>
                  <a:pt x="5456762" y="593401"/>
                </a:lnTo>
                <a:lnTo>
                  <a:pt x="5456762" y="2260415"/>
                </a:lnTo>
                <a:cubicBezTo>
                  <a:pt x="5456762" y="2308833"/>
                  <a:pt x="5417511" y="2348084"/>
                  <a:pt x="5369093" y="2348084"/>
                </a:cubicBezTo>
                <a:lnTo>
                  <a:pt x="92955" y="2348084"/>
                </a:lnTo>
                <a:cubicBezTo>
                  <a:pt x="44537" y="2348084"/>
                  <a:pt x="5286" y="2308833"/>
                  <a:pt x="5286" y="2260415"/>
                </a:cubicBezTo>
                <a:lnTo>
                  <a:pt x="5286" y="593401"/>
                </a:lnTo>
                <a:lnTo>
                  <a:pt x="0" y="5934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ihandform 34">
            <a:extLst>
              <a:ext uri="{FF2B5EF4-FFF2-40B4-BE49-F238E27FC236}">
                <a16:creationId xmlns:a16="http://schemas.microsoft.com/office/drawing/2014/main" id="{428C4D10-5B6C-E64B-ADE7-056744F1BE3E}"/>
              </a:ext>
            </a:extLst>
          </p:cNvPr>
          <p:cNvSpPr/>
          <p:nvPr userDrawn="1"/>
        </p:nvSpPr>
        <p:spPr>
          <a:xfrm>
            <a:off x="6335189" y="3907473"/>
            <a:ext cx="5456762" cy="2348085"/>
          </a:xfrm>
          <a:custGeom>
            <a:avLst/>
            <a:gdLst>
              <a:gd name="connsiteX0" fmla="*/ 0 w 5456762"/>
              <a:gd name="connsiteY0" fmla="*/ 0 h 2348085"/>
              <a:gd name="connsiteX1" fmla="*/ 5456762 w 5456762"/>
              <a:gd name="connsiteY1" fmla="*/ 0 h 2348085"/>
              <a:gd name="connsiteX2" fmla="*/ 5456762 w 5456762"/>
              <a:gd name="connsiteY2" fmla="*/ 468488 h 2348085"/>
              <a:gd name="connsiteX3" fmla="*/ 5456762 w 5456762"/>
              <a:gd name="connsiteY3" fmla="*/ 593401 h 2348085"/>
              <a:gd name="connsiteX4" fmla="*/ 5456762 w 5456762"/>
              <a:gd name="connsiteY4" fmla="*/ 2260416 h 2348085"/>
              <a:gd name="connsiteX5" fmla="*/ 5369093 w 5456762"/>
              <a:gd name="connsiteY5" fmla="*/ 2348085 h 2348085"/>
              <a:gd name="connsiteX6" fmla="*/ 92955 w 5456762"/>
              <a:gd name="connsiteY6" fmla="*/ 2348085 h 2348085"/>
              <a:gd name="connsiteX7" fmla="*/ 5286 w 5456762"/>
              <a:gd name="connsiteY7" fmla="*/ 2260416 h 2348085"/>
              <a:gd name="connsiteX8" fmla="*/ 5286 w 5456762"/>
              <a:gd name="connsiteY8" fmla="*/ 593401 h 2348085"/>
              <a:gd name="connsiteX9" fmla="*/ 0 w 5456762"/>
              <a:gd name="connsiteY9" fmla="*/ 593401 h 2348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762" h="2348085">
                <a:moveTo>
                  <a:pt x="0" y="0"/>
                </a:moveTo>
                <a:lnTo>
                  <a:pt x="5456762" y="0"/>
                </a:lnTo>
                <a:lnTo>
                  <a:pt x="5456762" y="468488"/>
                </a:lnTo>
                <a:lnTo>
                  <a:pt x="5456762" y="593401"/>
                </a:lnTo>
                <a:lnTo>
                  <a:pt x="5456762" y="2260416"/>
                </a:lnTo>
                <a:cubicBezTo>
                  <a:pt x="5456762" y="2308834"/>
                  <a:pt x="5417511" y="2348085"/>
                  <a:pt x="5369093" y="2348085"/>
                </a:cubicBezTo>
                <a:lnTo>
                  <a:pt x="92955" y="2348085"/>
                </a:lnTo>
                <a:cubicBezTo>
                  <a:pt x="44537" y="2348085"/>
                  <a:pt x="5286" y="2308834"/>
                  <a:pt x="5286" y="2260416"/>
                </a:cubicBezTo>
                <a:lnTo>
                  <a:pt x="5286" y="593401"/>
                </a:lnTo>
                <a:lnTo>
                  <a:pt x="0" y="5934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Bildplatzhalter 37">
            <a:extLst>
              <a:ext uri="{FF2B5EF4-FFF2-40B4-BE49-F238E27FC236}">
                <a16:creationId xmlns:a16="http://schemas.microsoft.com/office/drawing/2014/main" id="{A80CFA11-0195-7B4F-995B-92F7B25FB0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237" y="1730136"/>
            <a:ext cx="5449888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38">
            <a:extLst>
              <a:ext uri="{FF2B5EF4-FFF2-40B4-BE49-F238E27FC236}">
                <a16:creationId xmlns:a16="http://schemas.microsoft.com/office/drawing/2014/main" id="{25C62B36-D231-7244-9FF9-C6C07A4D7E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2063" y="1730136"/>
            <a:ext cx="5449888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13FEB23-A814-6C42-B594-37D97ABF1E1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34771" y="4610664"/>
            <a:ext cx="4782409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8A1BA7A-F027-BB4E-ACEB-F5ADA12A42D2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4771" y="4155151"/>
            <a:ext cx="4782408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1DC230DB-5132-B248-8F9C-3534EAF061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675009" y="4610664"/>
            <a:ext cx="4782409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18CD2671-B308-E44D-88B2-65D9A03C152A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675009" y="4155151"/>
            <a:ext cx="4782408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E1ED552-FA1E-4C5C-A0E0-815380CBD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9A3340D3-129B-C126-CD9F-C40CB28E3505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69689B81-1D24-452D-D00A-573B31CCC3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0B68830B-CDC6-7345-B7FC-4A376FFAA7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050DD94-50E6-4046-9385-1496A8DE8537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2C47E89C-7FFC-EC4C-983C-E9E33F5A2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09C1D7A7-241A-B649-8758-845E8F216B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DF2C304B-23F6-35CD-A825-6944A9EE4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58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Agenda + Unterpunk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ihandform 49">
            <a:extLst>
              <a:ext uri="{FF2B5EF4-FFF2-40B4-BE49-F238E27FC236}">
                <a16:creationId xmlns:a16="http://schemas.microsoft.com/office/drawing/2014/main" id="{8AA5E7F6-8297-C6D1-47D1-02E6F781D524}"/>
              </a:ext>
            </a:extLst>
          </p:cNvPr>
          <p:cNvSpPr/>
          <p:nvPr userDrawn="1"/>
        </p:nvSpPr>
        <p:spPr>
          <a:xfrm>
            <a:off x="-1" y="2321829"/>
            <a:ext cx="11791951" cy="3932916"/>
          </a:xfrm>
          <a:custGeom>
            <a:avLst/>
            <a:gdLst>
              <a:gd name="connsiteX0" fmla="*/ 0 w 11712576"/>
              <a:gd name="connsiteY0" fmla="*/ 0 h 3932916"/>
              <a:gd name="connsiteX1" fmla="*/ 11589672 w 11712576"/>
              <a:gd name="connsiteY1" fmla="*/ 0 h 3932916"/>
              <a:gd name="connsiteX2" fmla="*/ 11712576 w 11712576"/>
              <a:gd name="connsiteY2" fmla="*/ 122904 h 3932916"/>
              <a:gd name="connsiteX3" fmla="*/ 11712576 w 11712576"/>
              <a:gd name="connsiteY3" fmla="*/ 3810012 h 3932916"/>
              <a:gd name="connsiteX4" fmla="*/ 11589672 w 11712576"/>
              <a:gd name="connsiteY4" fmla="*/ 3932916 h 3932916"/>
              <a:gd name="connsiteX5" fmla="*/ 0 w 11712576"/>
              <a:gd name="connsiteY5" fmla="*/ 3932916 h 393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6" h="3932916">
                <a:moveTo>
                  <a:pt x="0" y="0"/>
                </a:moveTo>
                <a:lnTo>
                  <a:pt x="11589672" y="0"/>
                </a:lnTo>
                <a:cubicBezTo>
                  <a:pt x="11657550" y="0"/>
                  <a:pt x="11712576" y="55026"/>
                  <a:pt x="11712576" y="122904"/>
                </a:cubicBezTo>
                <a:lnTo>
                  <a:pt x="11712576" y="3810012"/>
                </a:lnTo>
                <a:cubicBezTo>
                  <a:pt x="11712576" y="3877890"/>
                  <a:pt x="11657550" y="3932916"/>
                  <a:pt x="11589672" y="3932916"/>
                </a:cubicBezTo>
                <a:lnTo>
                  <a:pt x="0" y="393291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23688653-9552-DF6F-4EF1-7B9FDC0CE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1234622"/>
            <a:ext cx="10088485" cy="440182"/>
          </a:xfrm>
        </p:spPr>
        <p:txBody>
          <a:bodyPr lIns="0" tIns="0" rIns="0" bIns="0" anchor="t" anchorCtr="0">
            <a:noAutofit/>
          </a:bodyPr>
          <a:lstStyle>
            <a:lvl1pPr>
              <a:defRPr sz="36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Agenda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0BB76F49-77AB-0677-67CE-9D599904C32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A14B6046-099E-38E5-8EB0-2101AFF417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D5308FB-0DD4-C847-8BE6-5B88B135BFB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97997" y="2813255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09F69DE-57BA-6042-BFAB-4AE8C08C43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005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1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1083986-8038-114D-A254-A83B0626EE2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197997" y="3257087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D92AE9DB-16DF-BB47-A6EB-9C9A0C2091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197997" y="3920014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D940A534-200E-7241-AB76-D03D6D6BD55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0005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2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0286A701-5815-4842-A90A-02F48703795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197997" y="4363846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4F019B-0441-6B4C-974A-D77AA8BF40F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1197997" y="5046463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4D7EB7A2-8FA2-A848-958E-6CDAB78839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0005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3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BDA4E36-5A34-DC4C-A43D-B81317C05F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197997" y="5490295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769FADD5-2CCE-EE41-8E0D-5B4FBD76DE2C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893947" y="2813255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E743D98-D071-094D-86EC-51166DFC1F42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09600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4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C97806E-04CE-D144-B4F0-2A4B3B02E565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6893947" y="3257087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C1EA7DAC-7245-774F-94CF-E0BDCB407DB6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6893947" y="3920014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08AA791-6304-D246-A993-7F1F64C7E491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609600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5</a:t>
            </a: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6C86D070-D183-EC4E-A6E5-038759DECFE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6893947" y="4363846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06ADDAA2-370E-AB4E-BA79-413A6448400A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893947" y="5046463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E816D4E7-BBDB-774B-9592-8B61AD99837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09600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6</a:t>
            </a:r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FB39088-F487-7D4C-9802-A6FE64901667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6893947" y="5490295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75" name="Datumsplatzhalter 3">
            <a:extLst>
              <a:ext uri="{FF2B5EF4-FFF2-40B4-BE49-F238E27FC236}">
                <a16:creationId xmlns:a16="http://schemas.microsoft.com/office/drawing/2014/main" id="{0F432EAF-D6A8-4543-A49E-E4D034F1B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CEDA7F9-8F6B-473A-99B4-BB2DF26195E6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6" name="Fußzeilenplatzhalter 4">
            <a:extLst>
              <a:ext uri="{FF2B5EF4-FFF2-40B4-BE49-F238E27FC236}">
                <a16:creationId xmlns:a16="http://schemas.microsoft.com/office/drawing/2014/main" id="{F848E738-D5F5-214D-8A1A-393914B7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77" name="Foliennummernplatzhalter 5">
            <a:extLst>
              <a:ext uri="{FF2B5EF4-FFF2-40B4-BE49-F238E27FC236}">
                <a16:creationId xmlns:a16="http://schemas.microsoft.com/office/drawing/2014/main" id="{28772E9B-A106-B345-8B67-75A1B1A15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4EFCBA43-2D19-C555-9770-31B281AC96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117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5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reihandform 48">
            <a:extLst>
              <a:ext uri="{FF2B5EF4-FFF2-40B4-BE49-F238E27FC236}">
                <a16:creationId xmlns:a16="http://schemas.microsoft.com/office/drawing/2014/main" id="{B3F6A88A-9EB7-C24E-BFBE-A26689D60049}"/>
              </a:ext>
            </a:extLst>
          </p:cNvPr>
          <p:cNvSpPr/>
          <p:nvPr userDrawn="1"/>
        </p:nvSpPr>
        <p:spPr>
          <a:xfrm>
            <a:off x="395397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Bildplatzhalter 37">
            <a:extLst>
              <a:ext uri="{FF2B5EF4-FFF2-40B4-BE49-F238E27FC236}">
                <a16:creationId xmlns:a16="http://schemas.microsoft.com/office/drawing/2014/main" id="{A5536BA7-6E68-7747-9129-C47AF5B172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469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2" name="Freihandform 51">
            <a:extLst>
              <a:ext uri="{FF2B5EF4-FFF2-40B4-BE49-F238E27FC236}">
                <a16:creationId xmlns:a16="http://schemas.microsoft.com/office/drawing/2014/main" id="{556D33FA-5C12-9447-BE87-B3BA9B6F7127}"/>
              </a:ext>
            </a:extLst>
          </p:cNvPr>
          <p:cNvSpPr/>
          <p:nvPr userDrawn="1"/>
        </p:nvSpPr>
        <p:spPr>
          <a:xfrm>
            <a:off x="4255558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Bildplatzhalter 37">
            <a:extLst>
              <a:ext uri="{FF2B5EF4-FFF2-40B4-BE49-F238E27FC236}">
                <a16:creationId xmlns:a16="http://schemas.microsoft.com/office/drawing/2014/main" id="{A0789967-2B46-1547-BB48-F2F7D480C8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3280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4" name="Freihandform 53">
            <a:extLst>
              <a:ext uri="{FF2B5EF4-FFF2-40B4-BE49-F238E27FC236}">
                <a16:creationId xmlns:a16="http://schemas.microsoft.com/office/drawing/2014/main" id="{AB7A3AC6-BB70-A643-89DB-7E06CBF18FE5}"/>
              </a:ext>
            </a:extLst>
          </p:cNvPr>
          <p:cNvSpPr/>
          <p:nvPr userDrawn="1"/>
        </p:nvSpPr>
        <p:spPr>
          <a:xfrm>
            <a:off x="8112125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Bildplatzhalter 37">
            <a:extLst>
              <a:ext uri="{FF2B5EF4-FFF2-40B4-BE49-F238E27FC236}">
                <a16:creationId xmlns:a16="http://schemas.microsoft.com/office/drawing/2014/main" id="{A98DC343-8F36-744A-8C67-9804577C0B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3197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256CD53-C1A9-7F45-9186-4B3B13B274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39224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9B2DFE8C-CC19-0747-B5FC-4D8DC96222B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9225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8D8A6B4-FE03-8840-9F5F-C47684C68CC7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4601948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A37F5195-179B-834A-A7B4-3335FAB66F3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601949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7058D26D-ADA9-E847-A96F-84B94A194656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8457986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33F387FC-44E2-554A-BAB2-232A8BAB0D6A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457987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B70EB5D1-FD59-2847-2B45-B7914CAC3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C4CFE19E-DBF4-EC8F-4D4F-FAB744AF24D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94EAE8C4-594F-83DA-BD75-2C846A4DFEC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7ACB6D34-658E-CC40-B241-6BEEC0CE3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B0A73F0-29E5-427B-A9E9-3F3315C5B18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EA193843-3C64-7F42-8F27-4721EFB7A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4" name="Foliennummernplatzhalter 5">
            <a:extLst>
              <a:ext uri="{FF2B5EF4-FFF2-40B4-BE49-F238E27FC236}">
                <a16:creationId xmlns:a16="http://schemas.microsoft.com/office/drawing/2014/main" id="{CAD76656-5783-0C48-A5B5-73AA4E3CC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74BE365-74AD-CDB9-93D1-04F3E9A809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125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1_Headl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A8CE7F3E-2CE1-8646-8C89-1686BEA70EB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980048" y="2188384"/>
            <a:ext cx="4811903" cy="4067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de-AT"/>
              <a:t>Illustration oder Bild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465A0ACE-6C48-D494-4A3E-7385E69D5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94550724-DD01-C71F-B762-66773B244C8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EE54AE6-EA59-D138-87B4-BACCF91D9C9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AB70CE73-E051-BB44-ADC0-1BF41E0694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65636F27-E469-4EA7-9F9E-C1C81079D2A0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675CCBB-41AB-9C44-B28C-4CE6FD8601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804978B-AD25-D94D-9C07-2684D8147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F5F7B33-5539-BA7B-E855-0DD9DBA4B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281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2_Headl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32DBC501-9BB1-C340-AEC7-F43BE23DACC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00237" y="2188385"/>
            <a:ext cx="3801026" cy="40671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de-AT"/>
              <a:t>Illustration oder Bild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289E64F2-8DD4-3D32-905F-F046DEDF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FFD59C87-0847-5770-876E-F2BAB0172959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6B35011-E582-B541-765C-16CB200C8D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EF347348-71C1-1D44-8EE2-6A605B8651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F693B22-291B-4977-8BF6-4B91B047F877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C8707247-8A75-EF42-B02B-FD3391E44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A849893-A3E1-0D44-91B5-72DC4C8979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6267A674-E73C-7C73-8322-C40DDCEC6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761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1_Mockup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4B445B89-65A7-404A-8F39-9B7DA0B82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52826" y="1942928"/>
            <a:ext cx="6207072" cy="38218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Grafik 13" descr="Ein Bild, das Text, Elektronik, Monitor, drinnen enthält.&#10;&#10;Automatisch generierte Beschreibung">
            <a:extLst>
              <a:ext uri="{FF2B5EF4-FFF2-40B4-BE49-F238E27FC236}">
                <a16:creationId xmlns:a16="http://schemas.microsoft.com/office/drawing/2014/main" id="{6905D46F-7A33-F747-8E3C-09F8D681B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0112" y="1555001"/>
            <a:ext cx="7780671" cy="4798489"/>
          </a:xfrm>
          <a:prstGeom prst="rect">
            <a:avLst/>
          </a:prstGeom>
        </p:spPr>
      </p:pic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A457A4A-F493-C040-9B1A-7F861B8FCCCA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00237" y="1700213"/>
            <a:ext cx="4781363" cy="45545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2563" indent="-182563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6ED613C-8AB0-BA8D-9350-5D37ACD2A3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B0ADA60-D1B5-2A9E-4049-08CDA6341FC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0638147-22F8-BAF7-7CD2-5348F69757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4545F25-13E6-A142-8617-DCF97AB783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E900199-B2F5-4AD7-A5D5-F3002221A9C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9798F63-DA62-8749-A404-1DDD2B4D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F6EF1FC2-E108-214E-ABB5-DEDCE609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8F232E3C-7AF0-FF98-FEF0-07E92E4F8B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8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_Bild vollflächig + Text + weißes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15BDA89-649A-2E75-6329-F7253C8B1114}"/>
              </a:ext>
            </a:extLst>
          </p:cNvPr>
          <p:cNvSpPr/>
          <p:nvPr userDrawn="1"/>
        </p:nvSpPr>
        <p:spPr>
          <a:xfrm>
            <a:off x="396875" y="4547130"/>
            <a:ext cx="11395075" cy="1707620"/>
          </a:xfrm>
          <a:prstGeom prst="roundRect">
            <a:avLst>
              <a:gd name="adj" fmla="val 656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EC33E4B-EC92-F31F-9486-8F1EC53FB6C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508946 w 12192000"/>
              <a:gd name="connsiteY0" fmla="*/ 4547130 h 6858000"/>
              <a:gd name="connsiteX1" fmla="*/ 396875 w 12192000"/>
              <a:gd name="connsiteY1" fmla="*/ 4659201 h 6858000"/>
              <a:gd name="connsiteX2" fmla="*/ 396875 w 12192000"/>
              <a:gd name="connsiteY2" fmla="*/ 6142679 h 6858000"/>
              <a:gd name="connsiteX3" fmla="*/ 508946 w 12192000"/>
              <a:gd name="connsiteY3" fmla="*/ 6254750 h 6858000"/>
              <a:gd name="connsiteX4" fmla="*/ 11679879 w 12192000"/>
              <a:gd name="connsiteY4" fmla="*/ 6254750 h 6858000"/>
              <a:gd name="connsiteX5" fmla="*/ 11791950 w 12192000"/>
              <a:gd name="connsiteY5" fmla="*/ 6142679 h 6858000"/>
              <a:gd name="connsiteX6" fmla="*/ 11791950 w 12192000"/>
              <a:gd name="connsiteY6" fmla="*/ 4659201 h 6858000"/>
              <a:gd name="connsiteX7" fmla="*/ 11679879 w 12192000"/>
              <a:gd name="connsiteY7" fmla="*/ 454713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8946" y="4547130"/>
                </a:moveTo>
                <a:cubicBezTo>
                  <a:pt x="447051" y="4547130"/>
                  <a:pt x="396875" y="4597306"/>
                  <a:pt x="396875" y="4659201"/>
                </a:cubicBezTo>
                <a:lnTo>
                  <a:pt x="396875" y="6142679"/>
                </a:lnTo>
                <a:cubicBezTo>
                  <a:pt x="396875" y="6204574"/>
                  <a:pt x="447051" y="6254750"/>
                  <a:pt x="508946" y="6254750"/>
                </a:cubicBezTo>
                <a:lnTo>
                  <a:pt x="11679879" y="6254750"/>
                </a:lnTo>
                <a:cubicBezTo>
                  <a:pt x="11741774" y="6254750"/>
                  <a:pt x="11791950" y="6204574"/>
                  <a:pt x="11791950" y="6142679"/>
                </a:cubicBezTo>
                <a:lnTo>
                  <a:pt x="11791950" y="4659201"/>
                </a:lnTo>
                <a:cubicBezTo>
                  <a:pt x="11791950" y="4597306"/>
                  <a:pt x="11741774" y="4547130"/>
                  <a:pt x="11679879" y="454713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.</a:t>
            </a: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42C654A9-7610-7248-A755-693FDFE66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8237" y="4936053"/>
            <a:ext cx="4242881" cy="928882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32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Headline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1D89B2B7-B48B-2C41-89A5-79FCF78AA291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5720989" y="4936053"/>
            <a:ext cx="5492774" cy="92888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CB933CE-FC3D-0EF2-D093-AAE0B5BE6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294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1_Bilder + Highlight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37">
            <a:extLst>
              <a:ext uri="{FF2B5EF4-FFF2-40B4-BE49-F238E27FC236}">
                <a16:creationId xmlns:a16="http://schemas.microsoft.com/office/drawing/2014/main" id="{C29C1798-42DB-A143-BA4A-04E38F1F7AF7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00237" y="2291386"/>
            <a:ext cx="2725737" cy="3963987"/>
          </a:xfrm>
          <a:custGeom>
            <a:avLst/>
            <a:gdLst>
              <a:gd name="connsiteX0" fmla="*/ 319303 w 2725737"/>
              <a:gd name="connsiteY0" fmla="*/ 2462737 h 3963987"/>
              <a:gd name="connsiteX1" fmla="*/ 211304 w 2725737"/>
              <a:gd name="connsiteY1" fmla="*/ 2570736 h 3963987"/>
              <a:gd name="connsiteX2" fmla="*/ 211304 w 2725737"/>
              <a:gd name="connsiteY2" fmla="*/ 3582280 h 3963987"/>
              <a:gd name="connsiteX3" fmla="*/ 319303 w 2725737"/>
              <a:gd name="connsiteY3" fmla="*/ 3690279 h 3963987"/>
              <a:gd name="connsiteX4" fmla="*/ 2407191 w 2725737"/>
              <a:gd name="connsiteY4" fmla="*/ 3690279 h 3963987"/>
              <a:gd name="connsiteX5" fmla="*/ 2515190 w 2725737"/>
              <a:gd name="connsiteY5" fmla="*/ 3582280 h 3963987"/>
              <a:gd name="connsiteX6" fmla="*/ 2515190 w 2725737"/>
              <a:gd name="connsiteY6" fmla="*/ 2570736 h 3963987"/>
              <a:gd name="connsiteX7" fmla="*/ 2407191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9303" y="2462737"/>
                </a:moveTo>
                <a:cubicBezTo>
                  <a:pt x="259657" y="2462737"/>
                  <a:pt x="211304" y="2511090"/>
                  <a:pt x="211304" y="2570736"/>
                </a:cubicBezTo>
                <a:lnTo>
                  <a:pt x="211304" y="3582280"/>
                </a:lnTo>
                <a:cubicBezTo>
                  <a:pt x="211304" y="3641926"/>
                  <a:pt x="259657" y="3690279"/>
                  <a:pt x="319303" y="3690279"/>
                </a:cubicBezTo>
                <a:lnTo>
                  <a:pt x="2407191" y="3690279"/>
                </a:lnTo>
                <a:cubicBezTo>
                  <a:pt x="2466837" y="3690279"/>
                  <a:pt x="2515190" y="3641926"/>
                  <a:pt x="2515190" y="3582280"/>
                </a:cubicBezTo>
                <a:lnTo>
                  <a:pt x="2515190" y="2570736"/>
                </a:lnTo>
                <a:cubicBezTo>
                  <a:pt x="2515190" y="2511090"/>
                  <a:pt x="2466837" y="2462737"/>
                  <a:pt x="2407191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Bildplatzhalter 56">
            <a:extLst>
              <a:ext uri="{FF2B5EF4-FFF2-40B4-BE49-F238E27FC236}">
                <a16:creationId xmlns:a16="http://schemas.microsoft.com/office/drawing/2014/main" id="{2014DEE9-E29F-8743-AD73-19988E954E4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066214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Bildplatzhalter 43">
            <a:extLst>
              <a:ext uri="{FF2B5EF4-FFF2-40B4-BE49-F238E27FC236}">
                <a16:creationId xmlns:a16="http://schemas.microsoft.com/office/drawing/2014/main" id="{5A480FD4-E082-CE45-81FC-1AA0EA180271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288896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49">
            <a:extLst>
              <a:ext uri="{FF2B5EF4-FFF2-40B4-BE49-F238E27FC236}">
                <a16:creationId xmlns:a16="http://schemas.microsoft.com/office/drawing/2014/main" id="{C76B752B-42B0-214C-B03B-4AD85BEEC0B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177555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81E3E858-38AB-AA41-A3D6-62C6EEE47E48}"/>
              </a:ext>
            </a:extLst>
          </p:cNvPr>
          <p:cNvSpPr/>
          <p:nvPr userDrawn="1"/>
        </p:nvSpPr>
        <p:spPr>
          <a:xfrm>
            <a:off x="611162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AAFED66C-B49C-DA4E-B35A-CF4B6C19E0DA}"/>
              </a:ext>
            </a:extLst>
          </p:cNvPr>
          <p:cNvSpPr/>
          <p:nvPr userDrawn="1"/>
        </p:nvSpPr>
        <p:spPr>
          <a:xfrm>
            <a:off x="3499821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5EC565F7-4063-214F-AA30-96118DA6E035}"/>
              </a:ext>
            </a:extLst>
          </p:cNvPr>
          <p:cNvSpPr/>
          <p:nvPr userDrawn="1"/>
        </p:nvSpPr>
        <p:spPr>
          <a:xfrm>
            <a:off x="6388480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B6A7C1A7-9C7E-C140-ABA7-739B44463D0C}"/>
              </a:ext>
            </a:extLst>
          </p:cNvPr>
          <p:cNvSpPr/>
          <p:nvPr userDrawn="1"/>
        </p:nvSpPr>
        <p:spPr>
          <a:xfrm>
            <a:off x="9277139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314B57D2-4A36-E545-8C79-4DCCE0B57DAF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866993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239D7035-D73B-7748-A504-8D20EECA4777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755652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B10F1A31-8C87-9E4C-BFC5-31A7833020DF}"/>
              </a:ext>
            </a:extLst>
          </p:cNvPr>
          <p:cNvSpPr>
            <a:spLocks noGrp="1"/>
          </p:cNvSpPr>
          <p:nvPr>
            <p:ph type="body" sz="half" idx="42" hasCustomPrompt="1"/>
          </p:nvPr>
        </p:nvSpPr>
        <p:spPr>
          <a:xfrm>
            <a:off x="6644311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21DD20F1-F3C4-4644-A09E-EDFB6EC53E8C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9532970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12721DA4-4F6A-B42D-D38A-B46494857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FC04EE4-112D-D65E-48AA-1449C8A5DAF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D7B91A7-D4DF-6537-99B3-81897E4030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66E30613-319E-FD45-9BA3-EA7375D34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A45CF6D-324E-4857-AA7E-855056D3FCDF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25E1597-2D6E-9141-92FF-2F50B13AD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4416D716-4E5B-734C-B5F2-00F86E1A51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C99AF74-9442-71FB-4713-87CF8BAFF1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17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1_Vollflächiges Bild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41F156D-E6E2-8342-9C55-F2D9EA64BB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.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936719-9259-604F-B5BC-D57A065421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1848" y="382244"/>
            <a:ext cx="1232315" cy="2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0328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2_Vollflächiges Bild + Schle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F81915-61B3-1B4A-B27C-0BDA7244B3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FB071B8-153E-E647-A6E6-AC9C197705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847850" y="-388621"/>
            <a:ext cx="16569074" cy="1239608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936719-9259-604F-B5BC-D57A065421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1848" y="382244"/>
            <a:ext cx="1232315" cy="2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167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E4BD7E79-E46A-D443-84E6-FE254D27C86F}"/>
              </a:ext>
            </a:extLst>
          </p:cNvPr>
          <p:cNvSpPr/>
          <p:nvPr userDrawn="1"/>
        </p:nvSpPr>
        <p:spPr>
          <a:xfrm>
            <a:off x="393363" y="1262098"/>
            <a:ext cx="11398587" cy="4991081"/>
          </a:xfrm>
          <a:prstGeom prst="roundRect">
            <a:avLst>
              <a:gd name="adj" fmla="val 27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DF96072B-6D09-D347-8F9E-05C2325472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1099" y="2493819"/>
            <a:ext cx="9529801" cy="2738420"/>
          </a:xfrm>
        </p:spPr>
        <p:txBody>
          <a:bodyPr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5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 dirty="0"/>
              <a:t>Zita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58E9099A-97DE-9449-9DE4-D7B92CC92CA0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3626260" y="5348633"/>
            <a:ext cx="4939478" cy="2769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Autor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CA819CB2-B89B-3944-B00F-D180801F72D2}"/>
              </a:ext>
            </a:extLst>
          </p:cNvPr>
          <p:cNvSpPr txBox="1">
            <a:spLocks/>
          </p:cNvSpPr>
          <p:nvPr userDrawn="1"/>
        </p:nvSpPr>
        <p:spPr>
          <a:xfrm>
            <a:off x="5706287" y="1625762"/>
            <a:ext cx="779424" cy="7516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AT" sz="9000"/>
              <a:t>“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16657002-E5CF-289F-C895-BE458969490E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2D73E5A-EE50-11C9-377C-0B2705BEAE1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F8981014-95BE-8346-B091-D186BA68D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4DC55F72-0EA6-4D2D-A9EE-6ECD60C5E143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730682B1-E1C4-E443-8B1D-AB51505DA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98F5E393-8213-F849-B88E-D5A9FF9521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403CFCC-0966-4DBD-C7E4-9F605B5E5F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777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1_Kontak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ihandform 27">
            <a:extLst>
              <a:ext uri="{FF2B5EF4-FFF2-40B4-BE49-F238E27FC236}">
                <a16:creationId xmlns:a16="http://schemas.microsoft.com/office/drawing/2014/main" id="{70AC9992-FC90-557E-6E3B-3978F917CF6A}"/>
              </a:ext>
            </a:extLst>
          </p:cNvPr>
          <p:cNvSpPr/>
          <p:nvPr userDrawn="1"/>
        </p:nvSpPr>
        <p:spPr>
          <a:xfrm>
            <a:off x="0" y="1700217"/>
            <a:ext cx="11791951" cy="4015218"/>
          </a:xfrm>
          <a:custGeom>
            <a:avLst/>
            <a:gdLst>
              <a:gd name="connsiteX0" fmla="*/ 0 w 11712575"/>
              <a:gd name="connsiteY0" fmla="*/ 0 h 4031191"/>
              <a:gd name="connsiteX1" fmla="*/ 11594622 w 11712575"/>
              <a:gd name="connsiteY1" fmla="*/ 0 h 4031191"/>
              <a:gd name="connsiteX2" fmla="*/ 11712575 w 11712575"/>
              <a:gd name="connsiteY2" fmla="*/ 117953 h 4031191"/>
              <a:gd name="connsiteX3" fmla="*/ 11712575 w 11712575"/>
              <a:gd name="connsiteY3" fmla="*/ 3913238 h 4031191"/>
              <a:gd name="connsiteX4" fmla="*/ 11594622 w 11712575"/>
              <a:gd name="connsiteY4" fmla="*/ 4031191 h 4031191"/>
              <a:gd name="connsiteX5" fmla="*/ 0 w 11712575"/>
              <a:gd name="connsiteY5" fmla="*/ 4031191 h 403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5" h="4031191">
                <a:moveTo>
                  <a:pt x="0" y="0"/>
                </a:moveTo>
                <a:lnTo>
                  <a:pt x="11594622" y="0"/>
                </a:lnTo>
                <a:cubicBezTo>
                  <a:pt x="11659766" y="0"/>
                  <a:pt x="11712575" y="52809"/>
                  <a:pt x="11712575" y="117953"/>
                </a:cubicBezTo>
                <a:lnTo>
                  <a:pt x="11712575" y="3913238"/>
                </a:lnTo>
                <a:cubicBezTo>
                  <a:pt x="11712575" y="3978382"/>
                  <a:pt x="11659766" y="4031191"/>
                  <a:pt x="11594622" y="4031191"/>
                </a:cubicBezTo>
                <a:lnTo>
                  <a:pt x="0" y="403119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C3EFCC50-F1D5-704D-8389-7E8925274CA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3363" y="1144122"/>
            <a:ext cx="5040000" cy="51114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47C47E8-C14E-E34E-9B01-865490EEBD0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62274" y="2622043"/>
            <a:ext cx="5174177" cy="479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Vorname Nachname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E4CFC47B-3683-CE48-9782-782891B3A31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62274" y="3298032"/>
            <a:ext cx="5174177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Jobtitel</a:t>
            </a: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0D93D5E7-C8FB-DF40-901D-162BE00CAB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71296" y="4570584"/>
            <a:ext cx="361761" cy="361761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D70B6B3-5C44-884D-B2A6-5A7EC1E6E6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V="1">
            <a:off x="6152519" y="4056490"/>
            <a:ext cx="399315" cy="399315"/>
          </a:xfrm>
          <a:prstGeom prst="rect">
            <a:avLst/>
          </a:prstGeom>
        </p:spPr>
      </p:pic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C8649C12-52B1-9B4B-94B9-CB1268A3F8D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709028" y="4150086"/>
            <a:ext cx="4727424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l.</a:t>
            </a:r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33DADB90-6808-6A44-966E-09AAE02EC04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709027" y="4645402"/>
            <a:ext cx="4727424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E-Mail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BD2C6442-4BC7-247E-CA30-778AF1E1E3D2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ED397EB-6B82-8506-69D3-5273DE17A5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1CEA847A-0644-AD4D-8D60-9F173B40D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2C6734D-9C71-47E1-AE1D-22899D8A1B62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775E52A3-1053-4242-91A5-3EC02FACC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96A76B98-AE2C-7B40-9377-7680E005FE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50F06E0-C72F-0D0E-2E44-C16A6FF4C6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673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ihandform 49">
            <a:extLst>
              <a:ext uri="{FF2B5EF4-FFF2-40B4-BE49-F238E27FC236}">
                <a16:creationId xmlns:a16="http://schemas.microsoft.com/office/drawing/2014/main" id="{8AA5E7F6-8297-C6D1-47D1-02E6F781D524}"/>
              </a:ext>
            </a:extLst>
          </p:cNvPr>
          <p:cNvSpPr/>
          <p:nvPr userDrawn="1"/>
        </p:nvSpPr>
        <p:spPr>
          <a:xfrm>
            <a:off x="-1" y="2321829"/>
            <a:ext cx="11791951" cy="3932916"/>
          </a:xfrm>
          <a:custGeom>
            <a:avLst/>
            <a:gdLst>
              <a:gd name="connsiteX0" fmla="*/ 0 w 11712576"/>
              <a:gd name="connsiteY0" fmla="*/ 0 h 3932916"/>
              <a:gd name="connsiteX1" fmla="*/ 11589672 w 11712576"/>
              <a:gd name="connsiteY1" fmla="*/ 0 h 3932916"/>
              <a:gd name="connsiteX2" fmla="*/ 11712576 w 11712576"/>
              <a:gd name="connsiteY2" fmla="*/ 122904 h 3932916"/>
              <a:gd name="connsiteX3" fmla="*/ 11712576 w 11712576"/>
              <a:gd name="connsiteY3" fmla="*/ 3810012 h 3932916"/>
              <a:gd name="connsiteX4" fmla="*/ 11589672 w 11712576"/>
              <a:gd name="connsiteY4" fmla="*/ 3932916 h 3932916"/>
              <a:gd name="connsiteX5" fmla="*/ 0 w 11712576"/>
              <a:gd name="connsiteY5" fmla="*/ 3932916 h 393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6" h="3932916">
                <a:moveTo>
                  <a:pt x="0" y="0"/>
                </a:moveTo>
                <a:lnTo>
                  <a:pt x="11589672" y="0"/>
                </a:lnTo>
                <a:cubicBezTo>
                  <a:pt x="11657550" y="0"/>
                  <a:pt x="11712576" y="55026"/>
                  <a:pt x="11712576" y="122904"/>
                </a:cubicBezTo>
                <a:lnTo>
                  <a:pt x="11712576" y="3810012"/>
                </a:lnTo>
                <a:cubicBezTo>
                  <a:pt x="11712576" y="3877890"/>
                  <a:pt x="11657550" y="3932916"/>
                  <a:pt x="11589672" y="3932916"/>
                </a:cubicBezTo>
                <a:lnTo>
                  <a:pt x="0" y="393291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23688653-9552-DF6F-4EF1-7B9FDC0CE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1234622"/>
            <a:ext cx="10088485" cy="440182"/>
          </a:xfrm>
        </p:spPr>
        <p:txBody>
          <a:bodyPr lIns="0" tIns="0" rIns="0" bIns="0" anchor="t" anchorCtr="0">
            <a:noAutofit/>
          </a:bodyPr>
          <a:lstStyle>
            <a:lvl1pPr>
              <a:defRPr sz="36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Agenda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0BB76F49-77AB-0677-67CE-9D599904C32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A14B6046-099E-38E5-8EB0-2101AFF417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D5308FB-0DD4-C847-8BE6-5B88B135BFB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97997" y="2927451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09F69DE-57BA-6042-BFAB-4AE8C08C43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005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1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D92AE9DB-16DF-BB47-A6EB-9C9A0C2091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197997" y="4034210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D940A534-200E-7241-AB76-D03D6D6BD55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0005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2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4F019B-0441-6B4C-974A-D77AA8BF40F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1197997" y="5160659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4D7EB7A2-8FA2-A848-958E-6CDAB78839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0005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3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769FADD5-2CCE-EE41-8E0D-5B4FBD76DE2C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893947" y="2927451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E743D98-D071-094D-86EC-51166DFC1F42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09600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4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C1EA7DAC-7245-774F-94CF-E0BDCB407DB6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6893947" y="4034210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08AA791-6304-D246-A993-7F1F64C7E491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609600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5</a:t>
            </a:r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06ADDAA2-370E-AB4E-BA79-413A6448400A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893947" y="5160659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E816D4E7-BBDB-774B-9592-8B61AD99837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09600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6</a:t>
            </a:r>
          </a:p>
        </p:txBody>
      </p:sp>
      <p:sp>
        <p:nvSpPr>
          <p:cNvPr id="75" name="Datumsplatzhalter 3">
            <a:extLst>
              <a:ext uri="{FF2B5EF4-FFF2-40B4-BE49-F238E27FC236}">
                <a16:creationId xmlns:a16="http://schemas.microsoft.com/office/drawing/2014/main" id="{0F432EAF-D6A8-4543-A49E-E4D034F1B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4FBB82B-8196-49E7-B6C0-3C411ADC77F3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6" name="Fußzeilenplatzhalter 4">
            <a:extLst>
              <a:ext uri="{FF2B5EF4-FFF2-40B4-BE49-F238E27FC236}">
                <a16:creationId xmlns:a16="http://schemas.microsoft.com/office/drawing/2014/main" id="{F848E738-D5F5-214D-8A1A-393914B7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77" name="Foliennummernplatzhalter 5">
            <a:extLst>
              <a:ext uri="{FF2B5EF4-FFF2-40B4-BE49-F238E27FC236}">
                <a16:creationId xmlns:a16="http://schemas.microsoft.com/office/drawing/2014/main" id="{28772E9B-A106-B345-8B67-75A1B1A15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AAB82E20-324E-B191-8264-E50A158B8B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942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ihandform 32">
            <a:extLst>
              <a:ext uri="{FF2B5EF4-FFF2-40B4-BE49-F238E27FC236}">
                <a16:creationId xmlns:a16="http://schemas.microsoft.com/office/drawing/2014/main" id="{CC6910AA-685B-939B-F5CB-F512870F08E5}"/>
              </a:ext>
            </a:extLst>
          </p:cNvPr>
          <p:cNvSpPr/>
          <p:nvPr userDrawn="1"/>
        </p:nvSpPr>
        <p:spPr>
          <a:xfrm>
            <a:off x="0" y="1700219"/>
            <a:ext cx="11791951" cy="4015216"/>
          </a:xfrm>
          <a:custGeom>
            <a:avLst/>
            <a:gdLst>
              <a:gd name="connsiteX0" fmla="*/ 0 w 11712575"/>
              <a:gd name="connsiteY0" fmla="*/ 0 h 4031191"/>
              <a:gd name="connsiteX1" fmla="*/ 11594622 w 11712575"/>
              <a:gd name="connsiteY1" fmla="*/ 0 h 4031191"/>
              <a:gd name="connsiteX2" fmla="*/ 11712575 w 11712575"/>
              <a:gd name="connsiteY2" fmla="*/ 117953 h 4031191"/>
              <a:gd name="connsiteX3" fmla="*/ 11712575 w 11712575"/>
              <a:gd name="connsiteY3" fmla="*/ 3913238 h 4031191"/>
              <a:gd name="connsiteX4" fmla="*/ 11594622 w 11712575"/>
              <a:gd name="connsiteY4" fmla="*/ 4031191 h 4031191"/>
              <a:gd name="connsiteX5" fmla="*/ 0 w 11712575"/>
              <a:gd name="connsiteY5" fmla="*/ 4031191 h 403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5" h="4031191">
                <a:moveTo>
                  <a:pt x="0" y="0"/>
                </a:moveTo>
                <a:lnTo>
                  <a:pt x="11594622" y="0"/>
                </a:lnTo>
                <a:cubicBezTo>
                  <a:pt x="11659766" y="0"/>
                  <a:pt x="11712575" y="52809"/>
                  <a:pt x="11712575" y="117953"/>
                </a:cubicBezTo>
                <a:lnTo>
                  <a:pt x="11712575" y="3913238"/>
                </a:lnTo>
                <a:cubicBezTo>
                  <a:pt x="11712575" y="3978382"/>
                  <a:pt x="11659766" y="4031191"/>
                  <a:pt x="11594622" y="4031191"/>
                </a:cubicBezTo>
                <a:lnTo>
                  <a:pt x="0" y="403119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349D457-B987-464D-A106-9684B2DFE6E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409858" y="2640483"/>
            <a:ext cx="8063326" cy="479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Vorname Nachnam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3D3B98E-7E7B-4C45-8837-662BC3C65155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409858" y="3316472"/>
            <a:ext cx="8063326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Jobtitel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5374E11-EC71-E44F-8B0F-21650588B3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8880" y="4589024"/>
            <a:ext cx="361761" cy="36176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2D704823-D219-8C4D-BDE5-A7504DBB462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V="1">
            <a:off x="1300103" y="4074930"/>
            <a:ext cx="399315" cy="399315"/>
          </a:xfrm>
          <a:prstGeom prst="rect">
            <a:avLst/>
          </a:prstGeom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A8B5C620-D92C-2742-BA0F-10720E2C5A0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856611" y="4168526"/>
            <a:ext cx="4727423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l.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336C3891-43A2-384D-A56B-89328B0A30FF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1856610" y="4663842"/>
            <a:ext cx="4727423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E-Mail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04D01C21-A07E-C2F2-449F-4C9AFC8980C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B7964D2-35FC-954C-B337-81BB67256D8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70CE856F-EBCD-AA43-9443-5D77788056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39F786C-CFFB-4C90-A03C-A399C053D19B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7E656CC6-5C1D-2345-B3AB-AA4EFC5BA8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A96CCE2D-2EB7-F64E-B47E-4027D7FDC6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0C08A21-FD52-FC0B-F8E2-B7925FD6D6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394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1_Schlus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8AA96B7-C47B-4F50-A4C0-9D730504B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A4C6CD-2D91-9246-B726-0FCC298BA46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09846" y="2170348"/>
            <a:ext cx="10482104" cy="251730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Vielen Dank!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D3819BD-B61A-8441-016E-7D33C5CE5BE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6876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073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2_Schlussfolie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7A4756D2-842A-1B45-A183-55BDB75704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436" t="15926" r="17101" b="15926"/>
          <a:stretch/>
        </p:blipFill>
        <p:spPr>
          <a:xfrm>
            <a:off x="1932021" y="0"/>
            <a:ext cx="10259979" cy="6858000"/>
          </a:xfrm>
          <a:custGeom>
            <a:avLst/>
            <a:gdLst>
              <a:gd name="connsiteX0" fmla="*/ 0 w 9632062"/>
              <a:gd name="connsiteY0" fmla="*/ 0 h 6858000"/>
              <a:gd name="connsiteX1" fmla="*/ 9632062 w 9632062"/>
              <a:gd name="connsiteY1" fmla="*/ 0 h 6858000"/>
              <a:gd name="connsiteX2" fmla="*/ 9632062 w 9632062"/>
              <a:gd name="connsiteY2" fmla="*/ 6858000 h 6858000"/>
              <a:gd name="connsiteX3" fmla="*/ 0 w 96320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2062" h="6858000">
                <a:moveTo>
                  <a:pt x="0" y="0"/>
                </a:moveTo>
                <a:lnTo>
                  <a:pt x="9632062" y="0"/>
                </a:lnTo>
                <a:lnTo>
                  <a:pt x="963206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6" name="Bildplatzhalter 4">
            <a:extLst>
              <a:ext uri="{FF2B5EF4-FFF2-40B4-BE49-F238E27FC236}">
                <a16:creationId xmlns:a16="http://schemas.microsoft.com/office/drawing/2014/main" id="{ED78EE50-0578-AF47-8842-CC9A88D0A0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A4C6CD-2D91-9246-B726-0FCC298BA46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603999" y="2513248"/>
            <a:ext cx="5187951" cy="25173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Vielen </a:t>
            </a:r>
            <a:br>
              <a:rPr lang="de-AT" dirty="0"/>
            </a:br>
            <a:r>
              <a:rPr lang="de-AT" dirty="0"/>
              <a:t>Dank!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673C88C-2636-104F-8E7F-F5561703CDA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603998" y="5402447"/>
            <a:ext cx="5187952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Für Ihre Teilnahme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3CBC80D-A455-BF30-98B9-3EF41202BC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03999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287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Kapiteltrenner + Bild_blaues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2355B69-0D23-5051-BAA5-821C5D95543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67073DC-D0C7-2045-801F-CFF0C34022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363" y="1282182"/>
            <a:ext cx="5616575" cy="4993200"/>
          </a:xfrm>
          <a:prstGeom prst="roundRect">
            <a:avLst>
              <a:gd name="adj" fmla="val 2132"/>
            </a:avLst>
          </a:prstGeom>
          <a:solidFill>
            <a:schemeClr val="tx2">
              <a:alpha val="7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de-AT" dirty="0"/>
              <a:t>.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511D275-9E6B-D248-B953-A7202BC4EC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0200" y="382244"/>
            <a:ext cx="1173963" cy="21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platzhalter 2">
            <a:extLst>
              <a:ext uri="{FF2B5EF4-FFF2-40B4-BE49-F238E27FC236}">
                <a16:creationId xmlns:a16="http://schemas.microsoft.com/office/drawing/2014/main" id="{E8360966-4D0D-BA4F-AB62-06C1128F7D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84654" y="3820536"/>
            <a:ext cx="4633992" cy="184390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15E0AF7-B0B1-704D-96D6-A764A3822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4654" y="1736267"/>
            <a:ext cx="4633992" cy="1823220"/>
          </a:xfrm>
        </p:spPr>
        <p:txBody>
          <a:bodyPr lIns="0" tIns="0" rIns="0" bIns="0" anchor="t" anchorCtr="0">
            <a:noAutofit/>
          </a:bodyPr>
          <a:lstStyle>
            <a:lvl1pPr>
              <a:defRPr sz="1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AT" dirty="0"/>
              <a:t>01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87AC6171-075C-429E-A7BA-387D3ED43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679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Kapiteltren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4E72142-9EC3-2942-871D-778C30998BEC}"/>
              </a:ext>
            </a:extLst>
          </p:cNvPr>
          <p:cNvSpPr/>
          <p:nvPr userDrawn="1"/>
        </p:nvSpPr>
        <p:spPr>
          <a:xfrm>
            <a:off x="396875" y="1282182"/>
            <a:ext cx="11395075" cy="4972568"/>
          </a:xfrm>
          <a:prstGeom prst="roundRect">
            <a:avLst>
              <a:gd name="adj" fmla="val 195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F38DE9B2-2CE0-07FD-1FF9-46AD66E503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84653" y="3820536"/>
            <a:ext cx="10496109" cy="184390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8CF0B5A0-0956-7886-6ACE-D319F5C58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4654" y="1736267"/>
            <a:ext cx="4633992" cy="1823220"/>
          </a:xfrm>
        </p:spPr>
        <p:txBody>
          <a:bodyPr lIns="0" tIns="0" rIns="0" bIns="0" anchor="t" anchorCtr="0">
            <a:noAutofit/>
          </a:bodyPr>
          <a:lstStyle>
            <a:lvl1pPr>
              <a:defRPr sz="1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AT" dirty="0"/>
              <a:t>01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D401A30-EFDE-1B0A-8E0A-6124D5E113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86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_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813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_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id="{77619488-6B8F-BF1B-AC7F-0F453D17B9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1A9573BE-5D9D-0B8E-C9E2-5DFB152BD37F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E1C7C8C-7085-4E38-2A09-9A5078A9D0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EE57B241-7EF9-4744-A614-E97B02234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803E72B-AEE7-4F22-9E2F-DF65A90136B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476F08EB-25B2-254D-93D8-EB99DD309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EB5BDEE-133A-EA46-A7F8-CF725923AB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E577E0B-6AA1-FD93-7200-86AAC8F2D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497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2_Headline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19D50E59-A9FC-B640-A2F7-7F5DD6F7D57C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1700214"/>
            <a:ext cx="11391714" cy="45513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4150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60934BDD-EAD4-A2CA-2AA3-836C7707B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60C74BB-494B-44AA-AB83-541A8AD077BA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F0E9364-5F79-5EEF-C2E3-A00F3F153F8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3275604-D4FB-A549-8F5D-A1902E52F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335C4F6-DF3B-452B-9B4F-5991CE864FC4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9EC9B81-E84F-084C-A0BF-CAE98BC3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71B80F30-8D86-BA4E-A9B3-9A9C19F37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567EAD0-133F-1481-37CD-2B142FC189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805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A0A803-45ED-4E9E-AC17-D7FBCDBA3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33520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11" imgH="412" progId="TCLayout.ActiveDocument.1">
                  <p:embed/>
                </p:oleObj>
              </mc:Choice>
              <mc:Fallback>
                <p:oleObj name="think-cell Slide" r:id="rId45" imgW="411" imgH="41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A0A803-45ED-4E9E-AC17-D7FBCDBA3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65A233-BE70-43F9-810C-13139BE5D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65125"/>
            <a:ext cx="11395074" cy="1039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788AF5-789D-4C61-9C18-D1B0DF7DD1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6" y="1700213"/>
            <a:ext cx="11395074" cy="4551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712E8A-280C-4CEC-9EA7-933F3251AC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ADB6B3E6-1C0C-48A5-BB8B-60B3BABD28C1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A2971B-3E47-4B80-9470-25503E7400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C6E529-9BC8-44A8-8052-B611D7597D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97327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1" r:id="rId2"/>
    <p:sldLayoutId id="2147483691" r:id="rId3"/>
    <p:sldLayoutId id="2147483852" r:id="rId4"/>
    <p:sldLayoutId id="2147483685" r:id="rId5"/>
    <p:sldLayoutId id="2147483687" r:id="rId6"/>
    <p:sldLayoutId id="2147483827" r:id="rId7"/>
    <p:sldLayoutId id="2147483824" r:id="rId8"/>
    <p:sldLayoutId id="2147483830" r:id="rId9"/>
    <p:sldLayoutId id="2147483847" r:id="rId10"/>
    <p:sldLayoutId id="2147483785" r:id="rId11"/>
    <p:sldLayoutId id="2147483846" r:id="rId12"/>
    <p:sldLayoutId id="2147483800" r:id="rId13"/>
    <p:sldLayoutId id="2147483848" r:id="rId14"/>
    <p:sldLayoutId id="2147483770" r:id="rId15"/>
    <p:sldLayoutId id="2147483850" r:id="rId16"/>
    <p:sldLayoutId id="2147483771" r:id="rId17"/>
    <p:sldLayoutId id="2147483790" r:id="rId18"/>
    <p:sldLayoutId id="2147483773" r:id="rId19"/>
    <p:sldLayoutId id="2147483775" r:id="rId20"/>
    <p:sldLayoutId id="2147483851" r:id="rId21"/>
    <p:sldLayoutId id="2147483776" r:id="rId22"/>
    <p:sldLayoutId id="2147483811" r:id="rId23"/>
    <p:sldLayoutId id="2147483810" r:id="rId24"/>
    <p:sldLayoutId id="2147483809" r:id="rId25"/>
    <p:sldLayoutId id="2147483806" r:id="rId26"/>
    <p:sldLayoutId id="2147483813" r:id="rId27"/>
    <p:sldLayoutId id="2147483815" r:id="rId28"/>
    <p:sldLayoutId id="2147483818" r:id="rId29"/>
    <p:sldLayoutId id="2147483819" r:id="rId30"/>
    <p:sldLayoutId id="2147483793" r:id="rId31"/>
    <p:sldLayoutId id="2147483794" r:id="rId32"/>
    <p:sldLayoutId id="2147483801" r:id="rId33"/>
    <p:sldLayoutId id="2147483723" r:id="rId34"/>
    <p:sldLayoutId id="2147483805" r:id="rId35"/>
    <p:sldLayoutId id="2147483746" r:id="rId36"/>
    <p:sldLayoutId id="2147483747" r:id="rId37"/>
    <p:sldLayoutId id="2147483832" r:id="rId38"/>
    <p:sldLayoutId id="2147483836" r:id="rId39"/>
    <p:sldLayoutId id="2147483837" r:id="rId40"/>
    <p:sldLayoutId id="2147483765" r:id="rId41"/>
    <p:sldLayoutId id="2147483766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4150" indent="-184150" algn="l" defTabSz="3600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168275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800" indent="-1524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511300" indent="-1397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55800" indent="-1270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0" userDrawn="1">
          <p15:clr>
            <a:srgbClr val="5ACBF0"/>
          </p15:clr>
        </p15:guide>
        <p15:guide id="2" pos="7428" userDrawn="1">
          <p15:clr>
            <a:srgbClr val="5ACBF0"/>
          </p15:clr>
        </p15:guide>
        <p15:guide id="3" orient="horz" pos="3938" userDrawn="1">
          <p15:clr>
            <a:srgbClr val="5ACBF0"/>
          </p15:clr>
        </p15:guide>
        <p15:guide id="4" orient="horz" pos="1071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82AD7D2-285E-44E6-97DC-B33999300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Training on Hibernate ORM </a:t>
            </a:r>
            <a:r>
              <a:rPr lang="de-AT" dirty="0" err="1"/>
              <a:t>basics</a:t>
            </a:r>
            <a:r>
              <a:rPr lang="de-AT" dirty="0"/>
              <a:t> -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F2926AE-9DED-4571-A200-9B0A338B9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Hibernate - </a:t>
            </a:r>
            <a:r>
              <a:rPr lang="de-AT" dirty="0" err="1"/>
              <a:t>basic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126797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114394-6D1E-997C-B6AA-3B097121E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89AC28-7D53-943A-9E5F-A5407490D58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D66F52B-0076-4A19-80B0-0DE93FBA546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0BFA2F-D77E-867F-B37B-58088D3B7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8C7A94-6E2F-FEF8-377A-F99AD30CA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21636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4F957B-D2C0-CB98-F895-A0DE2D25B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72C8E-A384-B044-3C94-11CA2025C1F4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9BD6BB-C8F3-84B8-AF73-2EB7B970742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ABF622-56BC-462D-B7E1-6BDC7D5AC0E5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2CCF9-397B-9627-B16E-568D5E992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45BBA5-217B-ECB2-3E0E-B6670959D0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1343DD6-7E77-BBD1-E2FD-878294756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00B49FE-5FA7-F881-83E9-7EB79FFF1645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25512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9F7D87-EC9C-CE8A-EF5D-D90A6E91D7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93351C-41B9-0DEF-C565-E5CFEF8139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2FCB9E3-CE4D-4465-943D-5924D1DC9354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79A47D-76AB-7C87-EE26-80660D928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EAE26-7CBB-A5E8-0B74-6688C4457C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66886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D0FF890-469B-60F1-7B55-314E7A908F70}"/>
              </a:ext>
            </a:extLst>
          </p:cNvPr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25D4C8-CD2A-725B-3156-479EAEB5790A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AA75D-76A9-CB7E-E3C0-29F6909D12D5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3C9FAF-A6F4-8A7B-F683-7309F2DE99C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56662C0-BD40-88E0-7AA9-0BBBDC535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201B72-DA84-6912-942C-EF711B7F52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1E68D18-48B2-F824-1369-E5E6715479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45936BA-6AE5-452D-AF6A-8AC274880BC7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2DC13FB-67AF-6A29-135A-01366A0FDE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9FC22BD-BA3C-31CD-BE2D-662B1B66E0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0BC9D22-129A-A552-1499-BD277EC028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51DE23C-5BAF-A48A-CC64-B5260A0B2F4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87335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31415-8BCC-EC13-6388-6CB6E3AFA1D4}"/>
              </a:ext>
            </a:extLst>
          </p:cNvPr>
          <p:cNvSpPr>
            <a:spLocks noGrp="1"/>
          </p:cNvSpPr>
          <p:nvPr>
            <p:ph type="body" sz="half" idx="3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BADCDE-561D-2235-6B5B-F7853BA7093F}"/>
              </a:ext>
            </a:extLst>
          </p:cNvPr>
          <p:cNvSpPr>
            <a:spLocks noGrp="1"/>
          </p:cNvSpPr>
          <p:nvPr>
            <p:ph type="body" sz="half" idx="3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34F6EC-4CFC-B07B-1782-59A864EBB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A1C49B-DC74-FD02-4248-BEF30739C0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D1817D6-8DC4-2031-BCF5-99701DEEA7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D205F6-958D-4CEA-A3AB-EE1BD561EAFB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0458338-A693-0B73-89A8-D58EF220A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D7D9A8-8909-6565-2715-9F0633F1E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4</a:t>
            </a:fld>
            <a:endParaRPr lang="de-AT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FA1D78C-6A89-909A-C28A-53A2346089C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66A6114-AC43-5E22-D5C9-4BD29C0A2AC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53596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A81C680-D5F5-5D6F-A04C-030F0CF100A4}"/>
              </a:ext>
            </a:extLst>
          </p:cNvPr>
          <p:cNvSpPr>
            <a:spLocks noGrp="1"/>
          </p:cNvSpPr>
          <p:nvPr>
            <p:ph sz="half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52EA40-4890-B241-38F1-CB8F22E1AAF0}"/>
              </a:ext>
            </a:extLst>
          </p:cNvPr>
          <p:cNvSpPr>
            <a:spLocks noGrp="1"/>
          </p:cNvSpPr>
          <p:nvPr>
            <p:ph sz="half" idx="1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08D262-54D5-A200-98E3-BEEFCF57F6D0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193141-49F3-DF3A-16D6-F72A729887F6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18F1B-32C6-333D-88D1-4FA35361D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AF9396-7BE5-DA4C-49A6-8A38231F59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3E76A13-3B83-F84A-F334-432ADE13D8D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0B94962-96EE-49F8-8673-E4B7F27CEA78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758C379-D292-31CB-C3D3-B8CB10FF21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B8F7DFC-84B8-BA8B-12A4-79E75E2F6B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5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34E6266-3535-F1CD-5351-EE3E89F4E23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E2B8937-F96B-CF4D-5F03-F5556709E4C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351148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E70759-CB9C-25EE-5D47-AC8E8480872C}"/>
              </a:ext>
            </a:extLst>
          </p:cNvPr>
          <p:cNvSpPr>
            <a:spLocks noGrp="1"/>
          </p:cNvSpPr>
          <p:nvPr>
            <p:ph type="body" sz="half" idx="3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D38DDE-DA3F-057B-2F24-67090A78D5E0}"/>
              </a:ext>
            </a:extLst>
          </p:cNvPr>
          <p:cNvSpPr>
            <a:spLocks noGrp="1"/>
          </p:cNvSpPr>
          <p:nvPr>
            <p:ph type="body" sz="half" idx="3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417828-3B5F-97F0-3154-851BEA5F5E0C}"/>
              </a:ext>
            </a:extLst>
          </p:cNvPr>
          <p:cNvSpPr>
            <a:spLocks noGrp="1"/>
          </p:cNvSpPr>
          <p:nvPr>
            <p:ph type="body" sz="half" idx="4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E7D844-263F-FD1E-62E9-40FDF0A3F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E08FAD-C12C-3B71-719E-94690AFE97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65B583-36C3-31AA-A435-3A278796DEC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CC75B-58BA-4A69-A5C2-63B63B4BC312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45FF64-23DC-6299-4649-367794C52F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E7F64C-07D7-3141-BE7D-B82D036D4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6</a:t>
            </a:fld>
            <a:endParaRPr lang="de-AT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DA86E91-9C1A-C4F3-AA2E-5A0747EC5E9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54DD263-B033-B53C-334C-AF651110298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531C560-7B93-8B36-D562-E80CDFBD68F5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623739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2963CE-DD1C-FC63-6C0D-7AFCCB13CBEB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C1B19F-AE5A-2AC2-BDAB-4A2FD6783FE4}"/>
              </a:ext>
            </a:extLst>
          </p:cNvPr>
          <p:cNvSpPr>
            <a:spLocks noGrp="1"/>
          </p:cNvSpPr>
          <p:nvPr>
            <p:ph sz="half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09A889-87EB-D2A2-F7D8-144C16145EF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FA6ADE8-AB62-86D6-C8F0-7C7E29921D88}"/>
              </a:ext>
            </a:extLst>
          </p:cNvPr>
          <p:cNvSpPr>
            <a:spLocks noGrp="1"/>
          </p:cNvSpPr>
          <p:nvPr>
            <p:ph sz="half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A1597D-2D67-D923-1CAC-0E2B7BD10EE3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CF8B23-450D-8931-63D3-0C25F41FF7A0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8DE87AB-DA77-6DA9-2F39-BC12603AB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6DE72A-43FB-F5EC-10D5-9926009D99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EA8640CC-7FA0-4B88-0FA7-C212ED3730B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8EF801D-16CA-4DC3-9A58-B723FD480C69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63732A2-8A67-D68A-AB90-59962AEE5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80FF0F5-FDC1-9AC0-6E0E-E669D0151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7</a:t>
            </a:fld>
            <a:endParaRPr lang="de-AT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672CBAC-36CF-1760-1254-572A49EC4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4B9D362-C020-3EC8-3C67-4BDEAF153B2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659AB0E-B0DE-44F2-912A-4505FABDB3E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435602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7B3B5-F038-186B-5ED4-562CA7664B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DE48E3-6982-9063-F6B1-579BAED59DE1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FBD6F4-F3D9-948E-FD02-DCEFA04C1C14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BD6496-3704-7FE4-0960-B17AC7DE6AF7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564026-C360-366B-CDF7-C48631595001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D021F9-AF4A-EDB5-C45A-BD0A20FFA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5945120-B257-D1FA-B3DB-396E1E242D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9A5431-4D68-4473-AD44-5DAF263D43F8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31A7307-CB95-8AE6-96CF-2874C3E21C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F56653-B6CA-A068-8665-4B1FD1DA53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8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700FC28-D822-C6A4-A5AD-29AEEC1E46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C7799A-AA09-A275-1CFF-AEBA6C0BBE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EE3D76-7231-0CCA-CE4C-E5A635E2907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105127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0F0561-4C26-06CD-13BA-DA51D0B81F8D}"/>
              </a:ext>
            </a:extLst>
          </p:cNvPr>
          <p:cNvSpPr>
            <a:spLocks noGrp="1"/>
          </p:cNvSpPr>
          <p:nvPr>
            <p:ph type="body" sz="half" idx="3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2D2C4-82C4-A011-3A2E-F23BF001F503}"/>
              </a:ext>
            </a:extLst>
          </p:cNvPr>
          <p:cNvSpPr>
            <a:spLocks noGrp="1"/>
          </p:cNvSpPr>
          <p:nvPr>
            <p:ph type="body" sz="half" idx="3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6C171A-B3D0-E813-47FB-7704E5636188}"/>
              </a:ext>
            </a:extLst>
          </p:cNvPr>
          <p:cNvSpPr>
            <a:spLocks noGrp="1"/>
          </p:cNvSpPr>
          <p:nvPr>
            <p:ph type="body" sz="half" idx="4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0259A03-F29A-6EC5-8048-65FE6830C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9CC1E3-2456-036A-9E4F-E89C6607ED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09E6FB-0378-3826-1C9B-1D0907E44C2C}"/>
              </a:ext>
            </a:extLst>
          </p:cNvPr>
          <p:cNvSpPr>
            <a:spLocks noGrp="1"/>
          </p:cNvSpPr>
          <p:nvPr>
            <p:ph type="body" sz="half" idx="4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04525AF-130D-C8C5-1B0B-E758E81337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7B6AC0-ED8F-4E05-9F9F-3FEFA4CF165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D180415-AE94-7178-042C-FC33DD974C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1A3775B-AE90-B4E9-DB0A-937860DED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9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A65E64C-4284-FBAD-3833-42CEACB42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FCE2924-3965-03B7-ED13-C02A331C108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A22BB69-8D0E-BBC8-FEE9-8D28928D64C4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5520578-0DC7-B0A4-5FE0-7F027A6948EE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440527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ED18A61-2F86-8457-2070-A7D6DCB7ED0F}"/>
              </a:ext>
            </a:extLst>
          </p:cNvPr>
          <p:cNvSpPr>
            <a:spLocks noGrp="1"/>
          </p:cNvSpPr>
          <p:nvPr>
            <p:ph type="pic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9D950A-07E6-42C0-B84B-1FD748A2F0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58E742-6CC8-6B3E-6702-F3F4702E7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9210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7C1A37-8382-F256-6C0B-EF60DA5AA33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28F229-7E66-8349-12F3-D1285A90F9A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7982C7-3CFD-4724-4449-9C917A51E2A7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45751E-9B25-4DB3-866F-392B0D16324F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9E9F56-623C-09BF-35C7-C8AF0EFE05BF}"/>
              </a:ext>
            </a:extLst>
          </p:cNvPr>
          <p:cNvSpPr>
            <a:spLocks noGrp="1"/>
          </p:cNvSpPr>
          <p:nvPr>
            <p:ph sz="half" idx="2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89B1A8-AF1D-13D2-D9B3-233A5719A4C7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11B760B-9765-B93A-308D-0BE3ACF7993E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B45714E-EE70-83D2-2237-A4B833E6B77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EF1B59D-790C-144E-C683-E049A17AD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B100D44-88E4-3F0C-AA7A-17006BCCCF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E7276643-9D58-2D05-F2E8-2CB5B6DC9EF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B3D551C-5267-4ECF-B65C-76B006D33503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DC1D293-8BFE-663A-1BB7-DF07F93455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3A68D9A-1797-7F4F-C0DF-410B4CD3D9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0</a:t>
            </a:fld>
            <a:endParaRPr lang="de-AT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E25FCA6-F4AA-7CBA-2332-B965272CE3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4481C19-6B2D-6AFA-53AD-A78E2E80D16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D47E577-0D0A-5FD4-B029-86CDF012784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8954F1F-6DC1-4DA1-6D09-AC8C3FC6E0B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366523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5643166-8499-14DC-8ADE-5EC8983FF0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7B3D5E-C99A-FE5F-800B-528BBFD7C5AD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EC3728-ACE1-28D1-08D7-6AC997A2A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18F27E-E3F3-8ABE-FBB1-D8BFEB2D94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BE877F2-0F08-E298-89A9-18AE3034A4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3152E0-5C8F-4514-91E0-2079C1F7522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264119-617B-47C0-7C73-D4BAA978C8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0ADC09-6B15-02EE-BB17-744A7A1684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5231A6E-A5ED-C76B-80EE-5871ACAC1B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6152206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9F1C59-0B58-5A7C-4CBC-EA6D75EE28D6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53B30A-0257-3925-3CBC-D0051B494CBC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639775-2740-F299-7687-DFA7F0FE56D8}"/>
              </a:ext>
            </a:extLst>
          </p:cNvPr>
          <p:cNvSpPr>
            <a:spLocks noGrp="1"/>
          </p:cNvSpPr>
          <p:nvPr>
            <p:ph sz="half" idx="3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28C72F-4901-48CF-35F0-02D146F48C52}"/>
              </a:ext>
            </a:extLst>
          </p:cNvPr>
          <p:cNvSpPr>
            <a:spLocks noGrp="1"/>
          </p:cNvSpPr>
          <p:nvPr>
            <p:ph type="body" idx="3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AE19B6A-199D-8E6E-49D1-8E7229924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6DDCD0-9A21-318A-898B-E2E85B43E7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82AC123-43AC-5F36-25FF-71054E4C233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74478B-045B-4EA8-AEA8-48403493D185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4027146-BD77-3B4C-8D1D-03C223D859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37EC948-81BA-ABF3-65C6-9403F5B964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C2845F7-5CD5-FF89-6077-2FAB119CB7B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5442CC-16E9-59F1-EE34-C5FD21BFB9A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BD7189-82BB-8E96-3E4A-093BA226950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1D64857-05B0-3909-743A-9B3E176D3BA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236523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9BB67C-B263-AB51-A0C0-AA8591E5145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F8B096-34F0-E6E6-EF35-699D695FAAC3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E714DA-23B0-C3EC-7905-138717E2265E}"/>
              </a:ext>
            </a:extLst>
          </p:cNvPr>
          <p:cNvSpPr>
            <a:spLocks noGrp="1"/>
          </p:cNvSpPr>
          <p:nvPr>
            <p:ph sz="half" idx="4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A3B4B5-CF5A-B887-C25E-EE3FE247F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A0B9BF-6837-6CFB-AFC5-2D2EA7518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291CA5-D73A-41CE-DB1F-39DFF0BBC8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C35E308-6D1A-4DE8-BC35-F1E6C1ECBFE0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F37BDB-972C-EA69-9C8D-C4939B66A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7BFB5-8EC6-0B92-C1AD-1C55D4BDA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3</a:t>
            </a:fld>
            <a:endParaRPr lang="de-AT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7A7CA65-45BA-6C3C-2B2D-5F2A6651FC7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BA76C17-DE11-F2DB-452A-80D30465143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065060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B96D5-9C39-BE22-4929-0FEB95042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B8828-5C51-208D-B379-A0F9E14B5C46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BA155C8-EB8F-11D7-6D13-66B68226817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BE4FDC-9E14-8FC5-9451-FA3CE916B4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3492B3F-42DB-0404-BC55-DA1F4BA9FF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116D9B-09A1-4F98-9907-34765BE39A2E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2A0E0F8-0415-795D-B873-71C9BF4E9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4A2F94-1E7E-C8E0-CCA0-08DE1AF223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53375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D3BE2AF-FE68-98F9-83AA-1EAAACE0F27D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3C4196-5E3A-47A7-299B-6A23F347ECE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D3413-059F-418A-8B94-CD173F527B14}"/>
              </a:ext>
            </a:extLst>
          </p:cNvPr>
          <p:cNvSpPr>
            <a:spLocks noGrp="1"/>
          </p:cNvSpPr>
          <p:nvPr>
            <p:ph sz="half" idx="3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D5028E-BDBF-8D5D-3F6E-09ED118243DE}"/>
              </a:ext>
            </a:extLst>
          </p:cNvPr>
          <p:cNvSpPr>
            <a:spLocks noGrp="1"/>
          </p:cNvSpPr>
          <p:nvPr>
            <p:ph type="body" idx="3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49562E9-AAE0-1709-21F7-29C42F8B6FE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350C6E-D55C-9883-5AA3-833E7C618C5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E519A95-0D94-2508-2C65-0CBDE58A8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863ED1-3362-8925-ED50-A7DF320569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0E156DD-97F0-3A89-20D7-06E5CCC909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B0AC1BF-4781-4699-99E2-B6B754C9FEDB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5F9E629-F817-3D89-9D8F-364BA3EDC2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2BC2BC7-3E54-1017-0C5C-4349BEF7B1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05485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AC5AE4F-44C6-E2DC-E5EE-EFBEFB59904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558FC1-4D93-3F8B-D482-771763C8A9E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D4D349-CE9A-21D0-C8AC-89ECD37480A6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EE0B9E-0B47-E0A2-0A13-74029438B469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F346FCB-5E1C-4C41-55A5-DBFF4DAE0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F18716-6E7D-4F97-A795-4D39CBA518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A88B1B0-F42F-4C50-0EF8-48C2A70DFD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2A2EA21-3B2C-430A-932E-E882882B0CC4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139CD68-8508-1128-8F9D-2A7A2198CE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953D4F9-C0B4-C475-9E8D-6BBBD679F7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48429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A23C7CF-2EB6-98E6-3FC9-C2800E826F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39D39F-B880-3B06-29E7-D48984ACA7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CA41E4-DC1D-59C3-ACDC-34061839AD9B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C50B0C-BAE5-F696-7C8A-C4639EA1474A}"/>
              </a:ext>
            </a:extLst>
          </p:cNvPr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0693D9-9218-8ABA-2E03-B5D3BC65C877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E17C24D-25F5-2650-47A5-223B50AD524B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3A5AEB-82F6-CC24-25F5-F96DAF000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1829A8-C623-E32C-BA73-0E167B9E47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63D70D3-6CE9-619B-02BF-0E3EE2302F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050DD94-50E6-4046-9385-1496A8DE8537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1ACBDE2-D30F-0B93-BF69-0542E6D52F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A5C05E9-5889-E3E1-149A-117764E6FC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45503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CCD415D-61E0-5591-EB90-DA04D6CDA6A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6A9EDB-63E0-2D09-F59C-D3B5B89A98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858736E-BFF2-A58B-DB1F-509281B982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32A785-F25D-06DC-938F-34FC227473C8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610E93-3D95-94A5-F59D-E3B7ABFD5C5B}"/>
              </a:ext>
            </a:extLst>
          </p:cNvPr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83028CA-7E59-9950-6369-8B7304E4F92D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BD6B72-D69C-5181-8D82-E06088185DEC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B23E5E-7C83-DE35-00BD-68B987D58124}"/>
              </a:ext>
            </a:extLst>
          </p:cNvPr>
          <p:cNvSpPr>
            <a:spLocks noGrp="1"/>
          </p:cNvSpPr>
          <p:nvPr>
            <p:ph sz="half" idx="2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5F3573-304B-6C77-6A0D-63A7CA3CC608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991F3BB-E767-D4A2-373B-4F62DB82E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0A9B54-4D3A-E060-4BA8-EEAFB7F0BD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7A83CF2-7B03-D5E9-292C-3435061757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0A73F0-29E5-427B-A9E9-3F3315C5B18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19C26BB-7D22-4AA5-62ED-DC827BF7F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08A39BE-F380-56D1-7E7F-73F6CFEA9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19387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147639F-356D-C5E5-B81D-913D35EFA2AB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CC8897-4D27-6342-7BE8-F0143DA4D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FFD62C-78C3-361C-5167-DB17924C57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B8CC59-1F04-610C-9918-27EEBB902B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5636F27-E469-4EA7-9F9E-C1C81079D2A0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402F84-DC73-D2B2-7BD8-5A5DF4C7A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870C9F-293E-28D3-9B77-0DFB061D41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57047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690E1-D4FC-D14C-C8EF-AFE9A8890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8FC9F1-145B-BC97-D95A-B94FCF2824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6EABE-A8C4-7EA9-11C1-55CED185A95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de-AT" dirty="0"/>
              <a:t>Understanding </a:t>
            </a:r>
            <a:r>
              <a:rPr lang="de-AT" dirty="0" err="1"/>
              <a:t>object</a:t>
            </a:r>
            <a:r>
              <a:rPr lang="de-AT" dirty="0"/>
              <a:t>/relational </a:t>
            </a:r>
            <a:r>
              <a:rPr lang="de-AT" dirty="0" err="1"/>
              <a:t>persistence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042838-60A5-6689-0F3C-1D07A851902E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0DDBC6-2F5A-5A6A-5909-835BD23C6D5A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de-AT" dirty="0" err="1"/>
              <a:t>Getting</a:t>
            </a:r>
            <a:r>
              <a:rPr lang="de-AT" dirty="0"/>
              <a:t> </a:t>
            </a:r>
            <a:r>
              <a:rPr lang="de-AT" dirty="0" err="1"/>
              <a:t>started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Hibernat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23E4A2-DCCC-C35B-46FE-C57DA5317F19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077F12-3D54-6EA0-5D0A-E71018DE4AA0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de-AT" dirty="0"/>
              <a:t>Mapping </a:t>
            </a:r>
            <a:r>
              <a:rPr lang="de-AT" dirty="0" err="1"/>
              <a:t>Concepts</a:t>
            </a:r>
            <a:endParaRPr lang="de-AT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FBFC54F-3237-87FE-5F76-34B9DD9AF212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de-AT" dirty="0"/>
              <a:t>0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325C70D-7C93-99F3-8FDD-C7B88CD64203}"/>
              </a:ext>
            </a:extLst>
          </p:cNvPr>
          <p:cNvSpPr>
            <a:spLocks noGrp="1"/>
          </p:cNvSpPr>
          <p:nvPr>
            <p:ph type="body" idx="36"/>
          </p:nvPr>
        </p:nvSpPr>
        <p:spPr/>
        <p:txBody>
          <a:bodyPr/>
          <a:lstStyle/>
          <a:p>
            <a:r>
              <a:rPr lang="de-AT" dirty="0"/>
              <a:t>DTOs and </a:t>
            </a:r>
            <a:r>
              <a:rPr lang="de-AT" dirty="0" err="1"/>
              <a:t>Entities</a:t>
            </a:r>
            <a:endParaRPr lang="de-AT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7E2E78-84FC-4CBF-6705-281B65EA1429}"/>
              </a:ext>
            </a:extLst>
          </p:cNvPr>
          <p:cNvSpPr>
            <a:spLocks noGrp="1"/>
          </p:cNvSpPr>
          <p:nvPr>
            <p:ph type="body" idx="37"/>
          </p:nvPr>
        </p:nvSpPr>
        <p:spPr/>
        <p:txBody>
          <a:bodyPr/>
          <a:lstStyle/>
          <a:p>
            <a:r>
              <a:rPr lang="de-AT" dirty="0"/>
              <a:t>04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CEE7481-46F5-EAC0-FC44-8D534515C0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FBB82B-8196-49E7-B6C0-3C411ADC77F3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2D1B0EC4-4B70-6DE5-AC78-99BDFD773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E41D4E69-6B8D-B984-30F4-12934DE01A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09601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992768A-4561-9930-3D8E-93D1E37379E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9A7D60-7CE7-2BE8-1A95-438E256A4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32DBC-BB22-7A1D-B4AB-9F40D39BE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8C1EA9-4025-E245-867A-B4F377F1E8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F693B22-291B-4977-8BF6-4B91B047F877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97931F-A71D-B79E-97BD-7E1E524C6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CB4874-76CE-1C6E-E440-38C89A80B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984137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2BECE43-CD80-AC54-9074-5DBE684420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6DD61-5FB4-F0F1-88BA-2A1AADE0C678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0E515D-23AA-14CC-1D3F-C039B20E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119A67-6567-5D6B-4744-E2E92809C9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36C3EBD-013D-CA7F-F434-C42E6F513D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E900199-B2F5-4AD7-A5D5-F3002221A9C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3D15596-CEA3-6799-B4FF-822453AAF9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79A86D-5469-156A-BC93-EE2DC3F6E7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072055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97AB29E-DD77-AEBC-18EF-104CDE8051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2AA5E6-D1E7-5A5F-B15B-15DE59340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276EF2-A0D1-9790-00B0-D7F178447710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E313CB-2B44-A267-208A-B728FB3A3F7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3363" y="168275"/>
            <a:ext cx="1067137" cy="193675"/>
          </a:xfrm>
        </p:spPr>
        <p:txBody>
          <a:bodyPr>
            <a:normAutofit fontScale="85000" lnSpcReduction="20000"/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397944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0B558FD-7FB4-569E-F128-91F24023B4FC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7D0592-294E-B1D9-FBBD-D47B461A19CC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FC6C341-E1F0-06AD-FEFC-03DC91A894F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FE441C8-4C0F-B7DB-C433-E0631619C4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FF3B39-845D-FC97-2E04-6E90998D4A6A}"/>
              </a:ext>
            </a:extLst>
          </p:cNvPr>
          <p:cNvSpPr>
            <a:spLocks noGrp="1"/>
          </p:cNvSpPr>
          <p:nvPr>
            <p:ph type="body" sz="half" idx="4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053F48-0282-BCC8-C160-23D2CD14D16C}"/>
              </a:ext>
            </a:extLst>
          </p:cNvPr>
          <p:cNvSpPr>
            <a:spLocks noGrp="1"/>
          </p:cNvSpPr>
          <p:nvPr>
            <p:ph type="body" sz="half" idx="4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C7B449E-9243-C6A9-C9A4-6386B9D3F8E4}"/>
              </a:ext>
            </a:extLst>
          </p:cNvPr>
          <p:cNvSpPr>
            <a:spLocks noGrp="1"/>
          </p:cNvSpPr>
          <p:nvPr>
            <p:ph type="body" sz="half" idx="4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716EB8F-5EBA-75E9-ADBE-503AE7E17808}"/>
              </a:ext>
            </a:extLst>
          </p:cNvPr>
          <p:cNvSpPr>
            <a:spLocks noGrp="1"/>
          </p:cNvSpPr>
          <p:nvPr>
            <p:ph type="body" sz="half" idx="4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41DF314-3E67-7DF3-53B1-3971F8661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1F2AED-41BE-191D-DB8D-B4B200997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39FB670-37D0-1D32-6B55-34F40A4179E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A45CF6D-324E-4857-AA7E-855056D3FCDF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E708D91-29D3-1A17-956F-73B81C3BB8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2D84816-AE4A-1C05-43B7-C21B7B988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44450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0422627-3A07-285F-84A8-ECC8B0A5BD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0430735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C16703B-8D3E-692C-5830-6DA8FF4423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AD8164-B478-3788-F1D4-A8DCEEAB61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0186371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9F98F-F5F8-A963-0FD6-A4B61C46C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E6E1C8-E3C0-55AB-D828-054DB225BA8E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E565CE-16C8-666A-07A2-B4078D1256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C0998D-D356-0514-C85E-BEA23001374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DC55F72-0EA6-4D2D-A9EE-6ECD60C5E143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061239-7AA1-BEE3-9473-24573CCC5A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DE1672-E659-C7E0-DF58-ECE3E027F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304943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9242DB3-48D0-5F2A-91FC-268875E2E9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0DA949-9BF7-0195-B3D2-AB781A06241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A556D5-7143-21E4-48FC-43CA5836C73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37A7E3-157C-D624-6F0F-64F9AE31350C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4D1A34-5C76-3E7C-3F1E-5A35123C01DE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4247E1-2DAE-AF51-6889-66756C97AA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7082D91-67EA-41C6-4AD3-6747430AB7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2C6734D-9C71-47E1-AE1D-22899D8A1B62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E66E309-6A3D-FC61-5184-A12A5F93B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74A2069-C545-8C6E-31E0-6CE86DDE2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152668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1C8D6C-D7F1-0548-1DA3-E5D22780B98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97F96-F65C-53D5-BEB2-6252D5581FF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9525B-BFEC-7F6E-FDAB-A812F00B5826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AF9C-07AA-2C0C-1047-DB96EC701311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524281-72CE-5624-A5CF-42C6925B56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8A82DE-895A-A925-F528-796E7CA51C7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39F786C-CFFB-4C90-A03C-A399C053D19B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BACCBE-0B9F-B3C2-CDA7-B65F83A514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48B103-F8B0-5315-C0B4-0DC89FA1B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73266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27BD6B-9721-C7E7-9A24-E117AC5BA872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6371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1A66DE-3B45-6B9A-6784-A7DCF07214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Understanding </a:t>
            </a:r>
            <a:r>
              <a:rPr lang="de-AT" dirty="0" err="1"/>
              <a:t>object</a:t>
            </a:r>
            <a:r>
              <a:rPr lang="de-AT" dirty="0"/>
              <a:t>/relational </a:t>
            </a:r>
            <a:r>
              <a:rPr lang="de-AT" dirty="0" err="1"/>
              <a:t>persistence</a:t>
            </a:r>
            <a:endParaRPr lang="de-A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013F6C-CD40-A32A-D157-7DF11466C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9737262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12EAFB4-BE90-873E-AC6B-440330E818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7089D0-AD40-2BC3-5649-88B8A5A240F6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DDF5B4-F65A-A9FA-C842-66793F14FBC6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74834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8910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FFBDB-DB1E-BA82-1BE8-0F8B00616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566168-385E-99DE-CBEA-291D8E954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13521D-9FC4-3395-CBC6-BD17D210EB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803E72B-AEE7-4F22-9E2F-DF65A90136B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F9687C-55FC-65C0-2E61-22472970EF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503505-7491-6710-7E12-C19B72CECC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439482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4E70CE9-D133-448A-E422-249AD47B5DD0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617AD4-CAF3-A121-43A6-3F945C86E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488275-FC44-F08B-C11F-0B7F486BE9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1ACAFB-8D5F-C36F-8EE1-A9F891C316E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35C4F6-DF3B-452B-9B4F-5991CE864FC4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23BCE2-CF22-F7F3-C9A9-6D191EB0E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0EA741-3EE0-585C-006A-B5DC11F0CE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04844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C7F0E8-88DD-D7B5-53E9-A297251BBB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0EC018-3E4F-2149-A0E9-B199FDBFFDF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A53FBD-132D-4956-9A30-A0403514BB6C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382D7F-D7D8-BEEE-F4AC-98CE37F7F8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22A5DA-AF6A-3B23-73AF-64CBC58118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281983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E5597-A07B-AD21-068E-AA23F32D9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A7D1-9BC0-D2C3-59BD-AA3D6A7672DB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3D8C58-5F1A-7EC5-1B3C-FC6E9DBD0583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579C1B-4022-811E-F658-8D5ED2B5C7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85F986-B504-4BA3-A9A9-9505EB6EA0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E3DCA7-7BC2-4FD7-85E4-522478396FCD}" type="datetime1">
              <a:rPr lang="de-AT" smtClean="0"/>
              <a:t>03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77F106-44EB-4EF8-8843-8D48DD021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1B07771-BF13-3F18-368C-2B3F2DA5D7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91051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German Austri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QA Folienmaster 2022">
  <a:themeElements>
    <a:clrScheme name="UNIQA">
      <a:dk1>
        <a:srgbClr val="000000"/>
      </a:dk1>
      <a:lt1>
        <a:srgbClr val="FFFFFF"/>
      </a:lt1>
      <a:dk2>
        <a:srgbClr val="005CA9"/>
      </a:dk2>
      <a:lt2>
        <a:srgbClr val="FEFFFF"/>
      </a:lt2>
      <a:accent1>
        <a:srgbClr val="007EC5"/>
      </a:accent1>
      <a:accent2>
        <a:srgbClr val="8DA6D6"/>
      </a:accent2>
      <a:accent3>
        <a:srgbClr val="97BCE5"/>
      </a:accent3>
      <a:accent4>
        <a:srgbClr val="0D0D0D"/>
      </a:accent4>
      <a:accent5>
        <a:srgbClr val="CCCCCC"/>
      </a:accent5>
      <a:accent6>
        <a:srgbClr val="E9EFF7"/>
      </a:accent6>
      <a:hlink>
        <a:srgbClr val="005CA9"/>
      </a:hlink>
      <a:folHlink>
        <a:srgbClr val="005CA9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08000" tIns="108000" rIns="108000" bIns="108000" rtlCol="0" anchor="t" anchorCtr="0"/>
      <a:lstStyle>
        <a:defPPr algn="l">
          <a:spcAft>
            <a:spcPts val="10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3600" indent="-183600" algn="l">
          <a:buClr>
            <a:schemeClr val="tx2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UNIQAblau">
      <a:srgbClr val="005CA9"/>
    </a:custClr>
    <a:custClr name="Mittelblau">
      <a:srgbClr val="007EC5"/>
    </a:custClr>
    <a:custClr name="UNIQA50">
      <a:srgbClr val="8DA6D6"/>
    </a:custClr>
    <a:custClr name="Mittelblau50">
      <a:srgbClr val="97BCE5"/>
    </a:custClr>
    <a:custClr name="Schwarz95">
      <a:srgbClr val="0D0D0D"/>
    </a:custClr>
    <a:custClr name="Schwarz80">
      <a:srgbClr val="CCCCCC"/>
    </a:custClr>
    <a:custClr name="Weiss">
      <a:srgbClr val="FFFFFF"/>
    </a:custClr>
    <a:custClr name="Dunkelblau">
      <a:srgbClr val="003869"/>
    </a:custClr>
    <a:custClr name="Violett">
      <a:srgbClr val="4F227A"/>
    </a:custClr>
    <a:custClr name="Violett2">
      <a:srgbClr val="9B8AB8"/>
    </a:custClr>
    <a:custClr name="Mint1">
      <a:srgbClr val="008C89"/>
    </a:custClr>
    <a:custClr name="Mint2">
      <a:srgbClr val="49A994"/>
    </a:custClr>
    <a:custClr name="Space">
      <a:srgbClr val="FFFFFF"/>
    </a:custClr>
    <a:custClr name="Wohnen">
      <a:srgbClr val="F7A600"/>
    </a:custClr>
    <a:custClr name="Reisen">
      <a:srgbClr val="EC6502"/>
    </a:custClr>
    <a:custClr name="KFZ">
      <a:srgbClr val="E3000F"/>
    </a:custClr>
    <a:custClr name="Unfall">
      <a:srgbClr val="008890"/>
    </a:custClr>
    <a:custClr name="Gesundheit">
      <a:srgbClr val="007432"/>
    </a:custClr>
    <a:custClr name="Recht">
      <a:srgbClr val="8A1778"/>
    </a:custClr>
    <a:custClr name="Pflege">
      <a:srgbClr val="00628D"/>
    </a:custClr>
    <a:custClr name="Pension">
      <a:srgbClr val="00A2DB"/>
    </a:custClr>
    <a:custClr name="Einkommen">
      <a:srgbClr val="86C2EB"/>
    </a:custClr>
    <a:custClr name="Kunst">
      <a:srgbClr val="870036"/>
    </a:custClr>
    <a:custClr name="UuM">
      <a:srgbClr val="989900"/>
    </a:custClr>
    <a:custClr name="Betrieb">
      <a:srgbClr val="A31008"/>
    </a:custClr>
  </a:custClrLst>
  <a:extLst>
    <a:ext uri="{05A4C25C-085E-4340-85A3-A5531E510DB2}">
      <thm15:themeFamily xmlns:thm15="http://schemas.microsoft.com/office/thememl/2012/main" name="UNIQA_2022_Template.potx" id="{4DA913A3-0A30-4988-8406-D417D26E542B}" vid="{17F9E1B7-48F3-4044-9822-F005B5F74A5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c1caba1-c074-4085-93a0-8d7edfe69ea8">
      <Terms xmlns="http://schemas.microsoft.com/office/infopath/2007/PartnerControls"/>
    </lcf76f155ced4ddcb4097134ff3c332f>
    <TaxCatchAll xmlns="4a10f5d1-9e0e-4dc0-8c64-1cb98c90fca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68B35FE79913E4DAB2296E7E452B6FD" ma:contentTypeVersion="16" ma:contentTypeDescription="Ein neues Dokument erstellen." ma:contentTypeScope="" ma:versionID="4c3a5272ccaeee67507250d20be715ab">
  <xsd:schema xmlns:xsd="http://www.w3.org/2001/XMLSchema" xmlns:xs="http://www.w3.org/2001/XMLSchema" xmlns:p="http://schemas.microsoft.com/office/2006/metadata/properties" xmlns:ns2="9c1caba1-c074-4085-93a0-8d7edfe69ea8" xmlns:ns3="4a10f5d1-9e0e-4dc0-8c64-1cb98c90fcaf" targetNamespace="http://schemas.microsoft.com/office/2006/metadata/properties" ma:root="true" ma:fieldsID="fc339dc281926b79469c2018f43a3724" ns2:_="" ns3:_="">
    <xsd:import namespace="9c1caba1-c074-4085-93a0-8d7edfe69ea8"/>
    <xsd:import namespace="4a10f5d1-9e0e-4dc0-8c64-1cb98c90fc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1caba1-c074-4085-93a0-8d7edfe69e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10086053-a88a-47f9-b863-8646c5792d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10f5d1-9e0e-4dc0-8c64-1cb98c90fca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6f4fbe5-8ba0-4cea-9712-bf476c33fdc8}" ma:internalName="TaxCatchAll" ma:showField="CatchAllData" ma:web="4a10f5d1-9e0e-4dc0-8c64-1cb98c90fc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AD6263-FFDE-4E73-8058-40656BE3C9D2}">
  <ds:schemaRefs>
    <ds:schemaRef ds:uri="4a10f5d1-9e0e-4dc0-8c64-1cb98c90fcaf"/>
    <ds:schemaRef ds:uri="http://schemas.microsoft.com/office/2006/documentManagement/types"/>
    <ds:schemaRef ds:uri="http://purl.org/dc/elements/1.1/"/>
    <ds:schemaRef ds:uri="http://purl.org/dc/terms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9c1caba1-c074-4085-93a0-8d7edfe69ea8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6B8552-6239-415B-AFBE-03B248A5681A}">
  <ds:schemaRefs>
    <ds:schemaRef ds:uri="4a10f5d1-9e0e-4dc0-8c64-1cb98c90fcaf"/>
    <ds:schemaRef ds:uri="9c1caba1-c074-4085-93a0-8d7edfe69e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7DA25BF-CE66-401E-8FF6-548296B606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UNIQA_2022_Template</Template>
  <TotalTime>40</TotalTime>
  <Words>158</Words>
  <Application>Microsoft Office PowerPoint</Application>
  <PresentationFormat>Widescreen</PresentationFormat>
  <Paragraphs>106</Paragraphs>
  <Slides>4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5" baseType="lpstr">
      <vt:lpstr>Arial</vt:lpstr>
      <vt:lpstr>Arial Black</vt:lpstr>
      <vt:lpstr>Calibri</vt:lpstr>
      <vt:lpstr>UNIQA Folienmaster 2022</vt:lpstr>
      <vt:lpstr>think-cell Slide</vt:lpstr>
      <vt:lpstr>Hibernate - basics</vt:lpstr>
      <vt:lpstr>PowerPoint Presentation</vt:lpstr>
      <vt:lpstr>Agenda</vt:lpstr>
      <vt:lpstr>0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ka Tomašovičová</dc:creator>
  <cp:lastModifiedBy>Ivan Kováč</cp:lastModifiedBy>
  <cp:revision>3</cp:revision>
  <dcterms:created xsi:type="dcterms:W3CDTF">2023-01-09T13:08:38Z</dcterms:created>
  <dcterms:modified xsi:type="dcterms:W3CDTF">2024-04-03T12:1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8B35FE79913E4DAB2296E7E452B6FD</vt:lpwstr>
  </property>
  <property fmtid="{D5CDD505-2E9C-101B-9397-08002B2CF9AE}" pid="3" name="MediaServiceImageTags">
    <vt:lpwstr/>
  </property>
</Properties>
</file>